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4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5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6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7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8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9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0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Override11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Override12.xml" ContentType="application/vnd.openxmlformats-officedocument.themeOverr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Override13.xml" ContentType="application/vnd.openxmlformats-officedocument.themeOverr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Override14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15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16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17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Override18.xml" ContentType="application/vnd.openxmlformats-officedocument.themeOverr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Override19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Override20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Override21.xml" ContentType="application/vnd.openxmlformats-officedocument.themeOverr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Override22.xml" ContentType="application/vnd.openxmlformats-officedocument.themeOverr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Override23.xml" ContentType="application/vnd.openxmlformats-officedocument.themeOverr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heme/themeOverride24.xml" ContentType="application/vnd.openxmlformats-officedocument.themeOverr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heme/themeOverride25.xml" ContentType="application/vnd.openxmlformats-officedocument.themeOverr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heme/themeOverride26.xml" ContentType="application/vnd.openxmlformats-officedocument.themeOverr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heme/themeOverride27.xml" ContentType="application/vnd.openxmlformats-officedocument.themeOverride+xml"/>
  <Override PartName="/ppt/tags/tag109.xml" ContentType="application/vnd.openxmlformats-officedocument.presentationml.tags+xml"/>
  <Override PartName="/ppt/theme/themeOverride28.xml" ContentType="application/vnd.openxmlformats-officedocument.themeOverride+xml"/>
  <Override PartName="/ppt/tags/tag110.xml" ContentType="application/vnd.openxmlformats-officedocument.presentationml.tags+xml"/>
  <Override PartName="/ppt/theme/themeOverride29.xml" ContentType="application/vnd.openxmlformats-officedocument.themeOverr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heme/themeOverride30.xml" ContentType="application/vnd.openxmlformats-officedocument.themeOverrid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heme/themeOverride31.xml" ContentType="application/vnd.openxmlformats-officedocument.themeOverride+xml"/>
  <Override PartName="/ppt/tags/tag11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2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3.xml" ContentType="application/vnd.openxmlformats-officedocument.them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1.xml" ContentType="application/vnd.openxmlformats-officedocument.presentationml.notesSl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2" r:id="rId4"/>
    <p:sldMasterId id="2147483897" r:id="rId5"/>
  </p:sldMasterIdLst>
  <p:notesMasterIdLst>
    <p:notesMasterId r:id="rId33"/>
  </p:notesMasterIdLst>
  <p:sldIdLst>
    <p:sldId id="276" r:id="rId6"/>
    <p:sldId id="1028" r:id="rId7"/>
    <p:sldId id="1053" r:id="rId8"/>
    <p:sldId id="1056" r:id="rId9"/>
    <p:sldId id="1029" r:id="rId10"/>
    <p:sldId id="1030" r:id="rId11"/>
    <p:sldId id="550" r:id="rId12"/>
    <p:sldId id="259" r:id="rId13"/>
    <p:sldId id="1059" r:id="rId14"/>
    <p:sldId id="1060" r:id="rId15"/>
    <p:sldId id="1037" r:id="rId16"/>
    <p:sldId id="1033" r:id="rId17"/>
    <p:sldId id="1034" r:id="rId18"/>
    <p:sldId id="1036" r:id="rId19"/>
    <p:sldId id="1040" r:id="rId20"/>
    <p:sldId id="1041" r:id="rId21"/>
    <p:sldId id="1042" r:id="rId22"/>
    <p:sldId id="1063" r:id="rId23"/>
    <p:sldId id="1064" r:id="rId24"/>
    <p:sldId id="1069" r:id="rId25"/>
    <p:sldId id="1049" r:id="rId26"/>
    <p:sldId id="1043" r:id="rId27"/>
    <p:sldId id="1044" r:id="rId28"/>
    <p:sldId id="1051" r:id="rId29"/>
    <p:sldId id="1054" r:id="rId30"/>
    <p:sldId id="1052" r:id="rId31"/>
    <p:sldId id="1057" r:id="rId32"/>
  </p:sldIdLst>
  <p:sldSz cx="12192000" cy="6858000"/>
  <p:notesSz cx="6797675" cy="9926638"/>
  <p:embeddedFontLst>
    <p:embeddedFont>
      <p:font typeface="Calibri" panose="020F0502020204030204" pitchFamily="34" charset="0"/>
      <p:regular r:id="rId34"/>
      <p:bold r:id="rId35"/>
      <p:italic r:id="rId36"/>
      <p:boldItalic r:id="rId37"/>
    </p:embeddedFont>
    <p:embeddedFont>
      <p:font typeface="Calibri Light" panose="020F0302020204030204" pitchFamily="34" charset="0"/>
      <p:regular r:id="rId38"/>
      <p:italic r:id="rId39"/>
    </p:embeddedFont>
    <p:embeddedFont>
      <p:font typeface="PT Mono" panose="02060509020205020204" pitchFamily="49" charset="0"/>
      <p:regular r:id="rId40"/>
    </p:embeddedFont>
    <p:embeddedFont>
      <p:font typeface="PT Sans Caption" panose="020B0603020203020204" pitchFamily="34" charset="0"/>
      <p:regular r:id="rId41"/>
      <p:bold r:id="rId42"/>
    </p:embeddedFont>
    <p:embeddedFont>
      <p:font typeface="Segoe UI" panose="020B0502040204020203" pitchFamily="34" charset="0"/>
      <p:regular r:id="rId43"/>
      <p:bold r:id="rId44"/>
      <p:italic r:id="rId45"/>
      <p:boldItalic r:id="rId46"/>
    </p:embeddedFont>
    <p:embeddedFont>
      <p:font typeface="Segoe UI Semibold" panose="020B0702040204020203" pitchFamily="34" charset="0"/>
      <p:regular r:id="rId47"/>
      <p:bold r:id="rId48"/>
      <p:italic r:id="rId49"/>
      <p:boldItalic r:id="rId50"/>
    </p:embeddedFont>
    <p:embeddedFont>
      <p:font typeface="Trebuchet MS" panose="020B0703020202090204" pitchFamily="34" charset="0"/>
      <p:regular r:id="rId51"/>
      <p:bold r:id="rId52"/>
      <p:italic r:id="rId53"/>
      <p:boldItalic r:id="rId54"/>
    </p:embeddedFont>
  </p:embeddedFontLst>
  <p:custDataLst>
    <p:tags r:id="rId5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6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42E"/>
    <a:srgbClr val="6D6E71"/>
    <a:srgbClr val="595959"/>
    <a:srgbClr val="EFE95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81" autoAdjust="0"/>
    <p:restoredTop sz="86384"/>
  </p:normalViewPr>
  <p:slideViewPr>
    <p:cSldViewPr snapToGrid="0">
      <p:cViewPr varScale="1">
        <p:scale>
          <a:sx n="124" d="100"/>
          <a:sy n="124" d="100"/>
        </p:scale>
        <p:origin x="912" y="168"/>
      </p:cViewPr>
      <p:guideLst>
        <p:guide orient="horz" pos="2137"/>
        <p:guide pos="386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font" Target="fonts/font6.fntdata"/><Relationship Id="rId21" Type="http://schemas.openxmlformats.org/officeDocument/2006/relationships/slide" Target="slides/slide16.xml"/><Relationship Id="rId34" Type="http://schemas.openxmlformats.org/officeDocument/2006/relationships/font" Target="fonts/font1.fntdata"/><Relationship Id="rId42" Type="http://schemas.openxmlformats.org/officeDocument/2006/relationships/font" Target="fonts/font9.fntdata"/><Relationship Id="rId47" Type="http://schemas.openxmlformats.org/officeDocument/2006/relationships/font" Target="fonts/font14.fntdata"/><Relationship Id="rId50" Type="http://schemas.openxmlformats.org/officeDocument/2006/relationships/font" Target="fonts/font17.fntdata"/><Relationship Id="rId55" Type="http://schemas.openxmlformats.org/officeDocument/2006/relationships/tags" Target="tags/tag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font" Target="fonts/font4.fntdata"/><Relationship Id="rId40" Type="http://schemas.openxmlformats.org/officeDocument/2006/relationships/font" Target="fonts/font7.fntdata"/><Relationship Id="rId45" Type="http://schemas.openxmlformats.org/officeDocument/2006/relationships/font" Target="fonts/font12.fntdata"/><Relationship Id="rId53" Type="http://schemas.openxmlformats.org/officeDocument/2006/relationships/font" Target="fonts/font20.fntdata"/><Relationship Id="rId58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font" Target="fonts/font2.fntdata"/><Relationship Id="rId43" Type="http://schemas.openxmlformats.org/officeDocument/2006/relationships/font" Target="fonts/font10.fntdata"/><Relationship Id="rId48" Type="http://schemas.openxmlformats.org/officeDocument/2006/relationships/font" Target="fonts/font15.fntdata"/><Relationship Id="rId56" Type="http://schemas.openxmlformats.org/officeDocument/2006/relationships/presProps" Target="presProps.xml"/><Relationship Id="rId8" Type="http://schemas.openxmlformats.org/officeDocument/2006/relationships/slide" Target="slides/slide3.xml"/><Relationship Id="rId51" Type="http://schemas.openxmlformats.org/officeDocument/2006/relationships/font" Target="fonts/font18.fntdata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font" Target="fonts/font5.fntdata"/><Relationship Id="rId46" Type="http://schemas.openxmlformats.org/officeDocument/2006/relationships/font" Target="fonts/font13.fntdata"/><Relationship Id="rId59" Type="http://schemas.openxmlformats.org/officeDocument/2006/relationships/tableStyles" Target="tableStyles.xml"/><Relationship Id="rId20" Type="http://schemas.openxmlformats.org/officeDocument/2006/relationships/slide" Target="slides/slide15.xml"/><Relationship Id="rId41" Type="http://schemas.openxmlformats.org/officeDocument/2006/relationships/font" Target="fonts/font8.fntdata"/><Relationship Id="rId54" Type="http://schemas.openxmlformats.org/officeDocument/2006/relationships/font" Target="fonts/font21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font" Target="fonts/font3.fntdata"/><Relationship Id="rId49" Type="http://schemas.openxmlformats.org/officeDocument/2006/relationships/font" Target="fonts/font16.fntdata"/><Relationship Id="rId57" Type="http://schemas.openxmlformats.org/officeDocument/2006/relationships/viewProps" Target="viewProp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font" Target="fonts/font11.fntdata"/><Relationship Id="rId52" Type="http://schemas.openxmlformats.org/officeDocument/2006/relationships/font" Target="fonts/font19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1DF2D-F383-498B-8DB2-83655FDE0E77}" type="datetimeFigureOut">
              <a:rPr lang="ru-RU" smtClean="0"/>
              <a:pPr/>
              <a:t>20.05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4F575C-A085-4A06-96E6-19C69E9499C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40202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0347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Ребята, последним слайдом нужно добавить слайд про ЭДО </a:t>
            </a:r>
            <a:r>
              <a:rPr lang="ru-RU" dirty="0" err="1">
                <a:latin typeface="Calibri" panose="020F0502020204030204" pitchFamily="34" charset="0"/>
                <a:ea typeface="Calibri" panose="020F0502020204030204" pitchFamily="34" charset="0"/>
              </a:rPr>
              <a:t>лайт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 с фокусом на то, что мы даем возможность пользоваться ЭДО для маркировки даже тем УОТ, которые пока не пользуются коммерческим ЭДО.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Дать срез, что готово уже сейчас и </a:t>
            </a:r>
            <a:r>
              <a:rPr lang="ru-RU" dirty="0" err="1">
                <a:latin typeface="Calibri" panose="020F0502020204030204" pitchFamily="34" charset="0"/>
                <a:ea typeface="Calibri" panose="020F0502020204030204" pitchFamily="34" charset="0"/>
              </a:rPr>
              <a:t>роадмап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 развития.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0567A3-BBF3-40C3-9B0E-EE7FDE90F57F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82352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Ребята, последним слайдом нужно добавить слайд про ЭДО </a:t>
            </a:r>
            <a:r>
              <a:rPr lang="ru-RU" dirty="0" err="1">
                <a:latin typeface="Calibri" panose="020F0502020204030204" pitchFamily="34" charset="0"/>
                <a:ea typeface="Calibri" panose="020F0502020204030204" pitchFamily="34" charset="0"/>
              </a:rPr>
              <a:t>лайт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 с фокусом на то, что мы даем возможность пользоваться ЭДО для маркировки даже тем УОТ, которые пока не пользуются коммерческим ЭДО.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Дать срез, что готово уже сейчас и </a:t>
            </a:r>
            <a:r>
              <a:rPr lang="ru-RU" dirty="0" err="1">
                <a:latin typeface="Calibri" panose="020F0502020204030204" pitchFamily="34" charset="0"/>
                <a:ea typeface="Calibri" panose="020F0502020204030204" pitchFamily="34" charset="0"/>
              </a:rPr>
              <a:t>роадмап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 развития.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0567A3-BBF3-40C3-9B0E-EE7FDE90F57F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07374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Ребята, последним слайдом нужно добавить слайд про ЭДО </a:t>
            </a:r>
            <a:r>
              <a:rPr lang="ru-RU" dirty="0" err="1">
                <a:latin typeface="Calibri" panose="020F0502020204030204" pitchFamily="34" charset="0"/>
                <a:ea typeface="Calibri" panose="020F0502020204030204" pitchFamily="34" charset="0"/>
              </a:rPr>
              <a:t>лайт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 с фокусом на то, что мы даем возможность пользоваться ЭДО для маркировки даже тем УОТ, которые пока не пользуются коммерческим ЭДО.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endParaRPr lang="ru-RU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Дать срез, что готово уже сейчас и </a:t>
            </a:r>
            <a:r>
              <a:rPr lang="ru-RU" dirty="0" err="1">
                <a:latin typeface="Calibri" panose="020F0502020204030204" pitchFamily="34" charset="0"/>
                <a:ea typeface="Calibri" panose="020F0502020204030204" pitchFamily="34" charset="0"/>
              </a:rPr>
              <a:t>роадмап</a:t>
            </a:r>
            <a:r>
              <a:rPr lang="ru-RU" dirty="0">
                <a:latin typeface="Calibri" panose="020F0502020204030204" pitchFamily="34" charset="0"/>
                <a:ea typeface="Calibri" panose="020F0502020204030204" pitchFamily="34" charset="0"/>
              </a:rPr>
              <a:t> развития.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0567A3-BBF3-40C3-9B0E-EE7FDE90F57F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0723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 err="1"/>
              <a:t>Notes</a:t>
            </a:r>
            <a:r>
              <a:rPr lang="ru-RU"/>
              <a:t> view: </a:t>
            </a:r>
            <a:fld id="{128CEAFE-FA94-43E5-B0FF-D47E1CCDD1B4}" type="slidenum">
              <a:rPr lang="ru-RU" smtClean="0"/>
              <a:pPr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8840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Relationship Id="rId9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4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5.xml"/><Relationship Id="rId7" Type="http://schemas.openxmlformats.org/officeDocument/2006/relationships/image" Target="../media/image9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6.xml"/><Relationship Id="rId9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8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Relationship Id="rId9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8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Relationship Id="rId9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8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5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5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image" Target="../media/image5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Relationship Id="rId9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Relationship Id="rId9" Type="http://schemas.openxmlformats.org/officeDocument/2006/relationships/image" Target="../media/image5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3.xml"/><Relationship Id="rId7" Type="http://schemas.openxmlformats.org/officeDocument/2006/relationships/image" Target="../media/image9.emf"/><Relationship Id="rId2" Type="http://schemas.openxmlformats.org/officeDocument/2006/relationships/vmlDrawing" Target="../drawings/vmlDrawing40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8.png"/><Relationship Id="rId2" Type="http://schemas.openxmlformats.org/officeDocument/2006/relationships/tags" Target="../tags/tag7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7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2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8.png"/><Relationship Id="rId2" Type="http://schemas.openxmlformats.org/officeDocument/2006/relationships/tags" Target="../tags/tag7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4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8.png"/><Relationship Id="rId2" Type="http://schemas.openxmlformats.org/officeDocument/2006/relationships/tags" Target="../tags/tag8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6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8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48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1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6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52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9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58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5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8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Relationship Id="rId9" Type="http://schemas.openxmlformats.org/officeDocument/2006/relationships/image" Target="../media/image5.png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1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1.v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7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65.v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7.png"/><Relationship Id="rId2" Type="http://schemas.openxmlformats.org/officeDocument/2006/relationships/vmlDrawing" Target="../drawings/vmlDrawing66.v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Relationship Id="rId9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2.emf"/><Relationship Id="rId2" Type="http://schemas.openxmlformats.org/officeDocument/2006/relationships/tags" Target="../tags/tag122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6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8" cstate="print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42830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22744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9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3169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0" name="Picture 9"/>
          <p:cNvPicPr preferRelativeResize="0"/>
          <p:nvPr userDrawn="1"/>
        </p:nvPicPr>
        <p:blipFill rotWithShape="1">
          <a:blip r:embed="rId8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3424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2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9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46354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5350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 preferRelativeResize="0"/>
          <p:nvPr userDrawn="1"/>
        </p:nvPicPr>
        <p:blipFill rotWithShape="1">
          <a:blip r:embed="rId9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45959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7744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8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 preferRelativeResize="0"/>
          <p:nvPr userDrawn="1"/>
        </p:nvPicPr>
        <p:blipFill rotWithShape="1">
          <a:blip r:embed="rId9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82417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02992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6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69211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342401"/>
            <a:ext cx="10945142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7785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629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4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4377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72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30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6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04728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937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74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 cstate="print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384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275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2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 cstate="print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316180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411651"/>
            <a:ext cx="10912816" cy="332399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7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8126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859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800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6E6F73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682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8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ln/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176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2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9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7667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6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9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66456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90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 preferRelativeResize="0"/>
          <p:nvPr userDrawn="1"/>
        </p:nvPicPr>
        <p:blipFill rotWithShape="1">
          <a:blip r:embed="rId9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492013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14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8827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38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9137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62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9947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86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8318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9362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1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5527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34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10830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5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6340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82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4351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5220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0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00845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gradFill rotWithShape="1">
                        <a:gsLst>
                          <a:gs pos="0">
                            <a:schemeClr val="accent1"/>
                          </a:gs>
                          <a:gs pos="100000">
                            <a:schemeClr val="bg1"/>
                          </a:gs>
                        </a:gsLst>
                        <a:lin ang="8100000" scaled="1"/>
                      </a:gra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707179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8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8549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0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  <a:ln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436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6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6E6F73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5005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83761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153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4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29840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602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98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263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274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3059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70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9739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 cstate="print">
            <a:alphaModFix/>
          </a:blip>
          <a:stretch>
            <a:fillRect/>
          </a:stretch>
        </p:blipFill>
        <p:spPr>
          <a:xfrm>
            <a:off x="615359" y="562045"/>
            <a:ext cx="1346725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8007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9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3316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18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88601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977381" y="1115416"/>
            <a:ext cx="2753319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8760808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74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46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6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47643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 preferRelativeResize="0"/>
          <p:nvPr userDrawn="1"/>
        </p:nvPicPr>
        <p:blipFill rotWithShape="1">
          <a:blip r:embed="rId9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63705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90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76482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1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6E6F73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614002"/>
          </a:xfrm>
          <a:prstGeom prst="rect">
            <a:avLst/>
          </a:prstGeom>
          <a:noFill/>
          <a:ln>
            <a:solidFill>
              <a:srgbClr val="6E6F73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381" y="1115416"/>
            <a:ext cx="275331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3318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838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6E6F73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2524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862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6E6F73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436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86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9408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1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3172743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5139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517034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da" smtClean="0"/>
              <a:pPr/>
              <a:t>‹#›</a:t>
            </a:fld>
            <a:endParaRPr lang="da"/>
          </a:p>
        </p:txBody>
      </p:sp>
    </p:spTree>
    <p:extLst>
      <p:ext uri="{BB962C8B-B14F-4D97-AF65-F5344CB8AC3E}">
        <p14:creationId xmlns:p14="http://schemas.microsoft.com/office/powerpoint/2010/main" val="68726049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Shape 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da" smtClean="0"/>
              <a:pPr/>
              <a:t>‹#›</a:t>
            </a:fld>
            <a:endParaRPr lang="da"/>
          </a:p>
        </p:txBody>
      </p:sp>
    </p:spTree>
    <p:extLst>
      <p:ext uri="{BB962C8B-B14F-4D97-AF65-F5344CB8AC3E}">
        <p14:creationId xmlns:p14="http://schemas.microsoft.com/office/powerpoint/2010/main" val="345053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текст">
  <p:cSld name="Заголовок и текст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3172" tIns="46573" rIns="93172" bIns="46573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344" b="0" i="0" u="none" strike="noStrike" cap="none">
              <a:solidFill>
                <a:schemeClr val="lt1"/>
              </a:solidFill>
              <a:latin typeface="PT Sans Caption"/>
              <a:ea typeface="PT Sans Caption"/>
              <a:cs typeface="PT Sans Caption"/>
              <a:sym typeface="PT Sans Caption"/>
            </a:endParaRPr>
          </a:p>
        </p:txBody>
      </p:sp>
      <p:sp>
        <p:nvSpPr>
          <p:cNvPr id="60" name="Shape 60"/>
          <p:cNvSpPr txBox="1">
            <a:spLocks noGrp="1"/>
          </p:cNvSpPr>
          <p:nvPr>
            <p:ph type="sldNum" idx="12"/>
          </p:nvPr>
        </p:nvSpPr>
        <p:spPr>
          <a:xfrm>
            <a:off x="10822634" y="6238346"/>
            <a:ext cx="1102977" cy="3656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1pPr>
            <a:lvl2pPr marL="0" marR="0" lvl="1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2pPr>
            <a:lvl3pPr marL="0" marR="0" lvl="2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3pPr>
            <a:lvl4pPr marL="0" marR="0" lvl="3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4pPr>
            <a:lvl5pPr marL="0" marR="0" lvl="4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5pPr>
            <a:lvl6pPr marL="0" marR="0" lvl="5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6pPr>
            <a:lvl7pPr marL="0" marR="0" lvl="6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7pPr>
            <a:lvl8pPr marL="0" marR="0" lvl="7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8pPr>
            <a:lvl9pPr marL="0" marR="0" lvl="8" indent="0" algn="r" rtl="0">
              <a:spcBef>
                <a:spcPts val="0"/>
              </a:spcBef>
              <a:buNone/>
              <a:defRPr sz="1121" b="0" i="0" u="none" strike="noStrike" cap="none">
                <a:solidFill>
                  <a:schemeClr val="lt1"/>
                </a:solidFill>
                <a:latin typeface="PT Mono"/>
                <a:ea typeface="PT Mono"/>
                <a:cs typeface="PT Mono"/>
                <a:sym typeface="PT Mono"/>
              </a:defRPr>
            </a:lvl9pPr>
          </a:lstStyle>
          <a:p>
            <a:r>
              <a:rPr lang="ru-RU"/>
              <a:t>СТР. </a:t>
            </a:r>
            <a:fld id="{00000000-1234-1234-1234-123412341234}" type="slidenum">
              <a:rPr lang="ru" smtClean="0"/>
              <a:pPr/>
              <a:t>‹#›</a:t>
            </a:fld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19350" tIns="59675" rIns="119350" bIns="59675" anchor="t" anchorCtr="0"/>
          <a:lstStyle>
            <a:lvl1pPr marL="465906" marR="0" lvl="0" indent="-388254" algn="l" rtl="0">
              <a:spcBef>
                <a:spcPts val="489"/>
              </a:spcBef>
              <a:spcAft>
                <a:spcPts val="0"/>
              </a:spcAft>
              <a:buClr>
                <a:srgbClr val="57595B"/>
              </a:buClr>
              <a:buSzPts val="2400"/>
              <a:buFont typeface="Arial"/>
              <a:buChar char="•"/>
              <a:defRPr sz="2445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1pPr>
            <a:lvl2pPr marL="931811" marR="0" lvl="1" indent="-362371" algn="l" rtl="0">
              <a:spcBef>
                <a:spcPts val="408"/>
              </a:spcBef>
              <a:spcAft>
                <a:spcPts val="0"/>
              </a:spcAft>
              <a:buClr>
                <a:srgbClr val="57595B"/>
              </a:buClr>
              <a:buSzPts val="2000"/>
              <a:buFont typeface="Arial"/>
              <a:buChar char="–"/>
              <a:defRPr sz="2039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2pPr>
            <a:lvl3pPr marL="1397717" marR="0" lvl="2" indent="-336488" algn="l" rtl="0">
              <a:spcBef>
                <a:spcPts val="327"/>
              </a:spcBef>
              <a:spcAft>
                <a:spcPts val="0"/>
              </a:spcAft>
              <a:buClr>
                <a:srgbClr val="57595B"/>
              </a:buClr>
              <a:buSzPts val="1600"/>
              <a:buFont typeface="Arial"/>
              <a:buChar char="•"/>
              <a:defRPr sz="1631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3pPr>
            <a:lvl4pPr marL="1863623" marR="0" lvl="3" indent="-323545" algn="l" rtl="0">
              <a:spcBef>
                <a:spcPts val="285"/>
              </a:spcBef>
              <a:spcAft>
                <a:spcPts val="0"/>
              </a:spcAft>
              <a:buClr>
                <a:srgbClr val="57595B"/>
              </a:buClr>
              <a:buSzPts val="1400"/>
              <a:buFont typeface="Arial"/>
              <a:buChar char="–"/>
              <a:defRPr sz="1427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4pPr>
            <a:lvl5pPr marL="2329528" marR="0" lvl="4" indent="-323545" algn="l" rtl="0">
              <a:spcBef>
                <a:spcPts val="285"/>
              </a:spcBef>
              <a:spcAft>
                <a:spcPts val="0"/>
              </a:spcAft>
              <a:buClr>
                <a:srgbClr val="57595B"/>
              </a:buClr>
              <a:buSzPts val="1400"/>
              <a:buFont typeface="Arial"/>
              <a:buChar char="»"/>
              <a:defRPr sz="1427" b="0" i="0" u="none" strike="noStrike" cap="none">
                <a:solidFill>
                  <a:srgbClr val="57595B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5pPr>
            <a:lvl6pPr marL="2795434" marR="0" lvl="5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6pPr>
            <a:lvl7pPr marL="3261340" marR="0" lvl="6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7pPr>
            <a:lvl8pPr marL="3727245" marR="0" lvl="7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8pPr>
            <a:lvl9pPr marL="4193151" marR="0" lvl="8" indent="-401197" algn="l" rtl="0">
              <a:spcBef>
                <a:spcPts val="529"/>
              </a:spcBef>
              <a:spcAft>
                <a:spcPts val="0"/>
              </a:spcAft>
              <a:buClr>
                <a:schemeClr val="dk1"/>
              </a:buClr>
              <a:buSzPts val="2600"/>
              <a:buFont typeface="Arial"/>
              <a:buChar char="•"/>
              <a:defRPr sz="2649" b="0" i="0" u="none" strike="noStrike" cap="none">
                <a:solidFill>
                  <a:schemeClr val="dk1"/>
                </a:solidFill>
                <a:latin typeface="PT Sans Caption"/>
                <a:ea typeface="PT Sans Caption"/>
                <a:cs typeface="PT Sans Caption"/>
                <a:sym typeface="PT Sans Caption"/>
              </a:defRPr>
            </a:lvl9pPr>
          </a:lstStyle>
          <a:p>
            <a:endParaRPr/>
          </a:p>
        </p:txBody>
      </p:sp>
      <p:pic>
        <p:nvPicPr>
          <p:cNvPr id="8" name="Shape 134">
            <a:extLst>
              <a:ext uri="{FF2B5EF4-FFF2-40B4-BE49-F238E27FC236}">
                <a16:creationId xmlns:a16="http://schemas.microsoft.com/office/drawing/2014/main" id="{9331E853-7242-44DE-92DC-28E652CF083C}"/>
              </a:ext>
            </a:extLst>
          </p:cNvPr>
          <p:cNvPicPr preferRelativeResize="0"/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307"/>
            <a:ext cx="12191989" cy="106496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Shape 136">
            <a:extLst>
              <a:ext uri="{FF2B5EF4-FFF2-40B4-BE49-F238E27FC236}">
                <a16:creationId xmlns:a16="http://schemas.microsoft.com/office/drawing/2014/main" id="{5F5B941E-444A-449E-9664-69DB36ADFA41}"/>
              </a:ext>
            </a:extLst>
          </p:cNvPr>
          <p:cNvPicPr preferRelativeResize="0"/>
          <p:nvPr userDrawn="1"/>
        </p:nvPicPr>
        <p:blipFill rotWithShape="1"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6939" y="110016"/>
            <a:ext cx="190995" cy="81237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23941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7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4233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 preferRelativeResize="0"/>
          <p:nvPr userDrawn="1"/>
        </p:nvPicPr>
        <p:blipFill rotWithShape="1">
          <a:blip r:embed="rId9" cstate="print">
            <a:alphaModFix/>
          </a:blip>
          <a:srcRect l="-57" t="571" r="55" b="32592"/>
          <a:stretch/>
        </p:blipFill>
        <p:spPr>
          <a:xfrm>
            <a:off x="11366927" y="109259"/>
            <a:ext cx="731204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55604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224199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40314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26354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28962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5760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48109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73786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669866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421215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4929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562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20.05.2020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69659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86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42D499EF-F77F-4566-8D9F-EE2002539E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2473" cy="162051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94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493"/>
            <a:ext cx="5133975" cy="9896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598"/>
              </a:spcAft>
            </a:pP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Boston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nsulting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698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eserved</a:t>
            </a:r>
            <a:r>
              <a:rPr lang="ru-RU" sz="698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6880"/>
            <a:ext cx="2743200" cy="9896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98"/>
              </a:spcAft>
            </a:pPr>
            <a:r>
              <a:rPr lang="ru-RU" sz="698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ru-RU" sz="698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1635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 hidden="1">
            <a:extLst>
              <a:ext uri="{FF2B5EF4-FFF2-40B4-BE49-F238E27FC236}">
                <a16:creationId xmlns:a16="http://schemas.microsoft.com/office/drawing/2014/main" id="{83906052-BB93-4A9D-83D9-844459518E4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eaLnBrk="1"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ru-RU" dirty="0"/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/>
              <a:t>Click to add title</a:t>
            </a:r>
            <a:endParaRPr lang="ru-RU" dirty="0"/>
          </a:p>
        </p:txBody>
      </p:sp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F88B0A4A-81C2-4AF4-8CDF-D8E32859945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0" i="0" baseline="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Copyright" hidden="1">
            <a:extLst>
              <a:ext uri="{FF2B5EF4-FFF2-40B4-BE49-F238E27FC236}">
                <a16:creationId xmlns:a16="http://schemas.microsoft.com/office/drawing/2014/main" id="{1858C75B-F07A-482D-9831-0E1B64875A66}"/>
              </a:ext>
            </a:extLst>
          </p:cNvPr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Group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,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Inc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.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All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rights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 reserved.</a:t>
            </a:r>
          </a:p>
        </p:txBody>
      </p:sp>
      <p:sp>
        <p:nvSpPr>
          <p:cNvPr id="15" name="FooterSimple" hidden="1">
            <a:extLst>
              <a:ext uri="{FF2B5EF4-FFF2-40B4-BE49-F238E27FC236}">
                <a16:creationId xmlns:a16="http://schemas.microsoft.com/office/drawing/2014/main" id="{A721DD66-78CF-4C71-9C53-DDE41B927AE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069411"/>
            <a:ext cx="2743200" cy="1938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31_Обзор проекта маркировки_Добродеев ВГТРК_v1.pptx</a:t>
            </a:r>
          </a:p>
        </p:txBody>
      </p:sp>
    </p:spTree>
    <p:extLst>
      <p:ext uri="{BB962C8B-B14F-4D97-AF65-F5344CB8AC3E}">
        <p14:creationId xmlns:p14="http://schemas.microsoft.com/office/powerpoint/2010/main" val="159625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Рус_Маркировка товаров в РФ для АЕБ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9879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oleObject" Target="../embeddings/oleObject67.bin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tags" Target="../tags/tag121.xml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120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vmlDrawing" Target="../drawings/vmlDrawing67.vml"/><Relationship Id="rId10" Type="http://schemas.openxmlformats.org/officeDocument/2006/relationships/slideLayout" Target="../slideLayouts/slideLayout79.xml"/><Relationship Id="rId19" Type="http://schemas.openxmlformats.org/officeDocument/2006/relationships/image" Target="../media/image15.emf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" name="Слайд think-cell" r:id="rId73" imgW="360" imgH="360" progId="">
                  <p:embed/>
                </p:oleObj>
              </mc:Choice>
              <mc:Fallback>
                <p:oleObj name="Слайд think-cell" r:id="rId73" imgW="360" imgH="360" progId="">
                  <p:embed/>
                  <p:pic>
                    <p:nvPicPr>
                      <p:cNvPr id="0" name="Picture 5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020346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  <p:sldLayoutId id="2147483712" r:id="rId50"/>
    <p:sldLayoutId id="2147483713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19" r:id="rId57"/>
    <p:sldLayoutId id="2147483720" r:id="rId58"/>
    <p:sldLayoutId id="2147483721" r:id="rId59"/>
    <p:sldLayoutId id="2147483722" r:id="rId60"/>
    <p:sldLayoutId id="2147483723" r:id="rId61"/>
    <p:sldLayoutId id="2147483724" r:id="rId62"/>
    <p:sldLayoutId id="2147483725" r:id="rId63"/>
    <p:sldLayoutId id="2147483726" r:id="rId64"/>
    <p:sldLayoutId id="2147483727" r:id="rId65"/>
    <p:sldLayoutId id="2147483728" r:id="rId66"/>
    <p:sldLayoutId id="2147483729" r:id="rId67"/>
    <p:sldLayoutId id="2147483730" r:id="rId68"/>
    <p:sldLayoutId id="2147483731" r:id="rId6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9EA9F157-7873-ED4E-8DA0-DC1D90D60E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206252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62" name="Слайд think-cell" r:id="rId18" imgW="360" imgH="360" progId="">
                  <p:embed/>
                </p:oleObj>
              </mc:Choice>
              <mc:Fallback>
                <p:oleObj name="Слайд think-cell" r:id="rId18" imgW="360" imgH="360" progId="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A562F11-8B5C-CE40-AD1A-9F7F2ACF933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594F0DEE-949A-7646-94BE-987B7A0428DF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004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  <p:sldLayoutId id="2147483909" r:id="rId12"/>
    <p:sldLayoutId id="2147483910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29.xml"/><Relationship Id="rId7" Type="http://schemas.openxmlformats.org/officeDocument/2006/relationships/oleObject" Target="../embeddings/oleObject69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6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8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tags" Target="../tags/tag133.xml"/><Relationship Id="rId7" Type="http://schemas.openxmlformats.org/officeDocument/2006/relationships/image" Target="../media/image2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6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0.xml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31.xml"/><Relationship Id="rId7" Type="http://schemas.openxmlformats.org/officeDocument/2006/relationships/image" Target="../media/image19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70.bin"/><Relationship Id="rId4" Type="http://schemas.openxmlformats.org/officeDocument/2006/relationships/slideLayout" Target="../slideLayouts/slideLayout8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1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1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7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B105AFC-CEFA-8F42-9D6E-2F11F000E9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0903" y="-1"/>
            <a:ext cx="6491097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9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1F73F6B-46B6-EF4B-B677-B2FA21DE481E}"/>
              </a:ext>
            </a:extLst>
          </p:cNvPr>
          <p:cNvSpPr/>
          <p:nvPr/>
        </p:nvSpPr>
        <p:spPr>
          <a:xfrm>
            <a:off x="0" y="-2"/>
            <a:ext cx="6096000" cy="6858001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742243"/>
            <a:ext cx="5034356" cy="47537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8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</a:t>
            </a:r>
          </a:p>
          <a:p>
            <a:pPr defTabSz="839852">
              <a:lnSpc>
                <a:spcPct val="100000"/>
              </a:lnSpc>
            </a:pPr>
            <a:r>
              <a:rPr lang="ru-RU" sz="2800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ЧНОЙ</a:t>
            </a:r>
            <a:endParaRPr lang="en-US" sz="28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ru-RU" sz="2800" dirty="0">
                <a:solidFill>
                  <a:srgbClr val="F6F42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И</a:t>
            </a:r>
            <a:endParaRPr lang="en-US" sz="28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en-US" sz="28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20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r>
              <a:rPr lang="ru-RU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Ян Витров</a:t>
            </a:r>
          </a:p>
          <a:p>
            <a:pPr defTabSz="839852">
              <a:lnSpc>
                <a:spcPct val="100000"/>
              </a:lnSpc>
            </a:pPr>
            <a:r>
              <a:rPr lang="ru-RU" sz="2000" b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уководитель ТГ Табак</a:t>
            </a:r>
            <a:endParaRPr lang="en-US" sz="2000" dirty="0">
              <a:latin typeface="PT Sans Caption" pitchFamily="34" charset="-52"/>
            </a:endParaRPr>
          </a:p>
          <a:p>
            <a:pPr defTabSz="839852">
              <a:lnSpc>
                <a:spcPct val="100000"/>
              </a:lnSpc>
            </a:pPr>
            <a:endParaRPr lang="ru-RU" sz="28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2800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br>
              <a:rPr lang="ru-RU" sz="2800" dirty="0">
                <a:solidFill>
                  <a:srgbClr val="6D6E71"/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</a:br>
            <a:endParaRPr lang="en-US" sz="2800" dirty="0">
              <a:solidFill>
                <a:srgbClr val="6D6E71"/>
              </a:solidFill>
              <a:latin typeface="PT Sans Caption" pitchFamily="34" charset="-52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FA69B658-D35D-FA47-B558-AA3789C1B065}"/>
              </a:ext>
            </a:extLst>
          </p:cNvPr>
          <p:cNvCxnSpPr>
            <a:cxnSpLocks/>
          </p:cNvCxnSpPr>
          <p:nvPr/>
        </p:nvCxnSpPr>
        <p:spPr>
          <a:xfrm flipH="1">
            <a:off x="853192" y="2457083"/>
            <a:ext cx="4416038" cy="0"/>
          </a:xfrm>
          <a:prstGeom prst="line">
            <a:avLst/>
          </a:prstGeom>
          <a:ln w="41275">
            <a:solidFill>
              <a:srgbClr val="EA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3190" y="5015463"/>
            <a:ext cx="3920996" cy="7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39420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309CF8DE-9779-CF48-972C-BA0E3DD5734A}"/>
              </a:ext>
            </a:extLst>
          </p:cNvPr>
          <p:cNvSpPr/>
          <p:nvPr/>
        </p:nvSpPr>
        <p:spPr>
          <a:xfrm>
            <a:off x="675039" y="699679"/>
            <a:ext cx="8482815" cy="90052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E09FF48-9571-584B-9A7E-0D2C9FB3F0BD}"/>
              </a:ext>
            </a:extLst>
          </p:cNvPr>
          <p:cNvSpPr txBox="1"/>
          <p:nvPr/>
        </p:nvSpPr>
        <p:spPr>
          <a:xfrm>
            <a:off x="973440" y="862103"/>
            <a:ext cx="9743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ичный кабинет. Аналитические отчеты</a:t>
            </a:r>
          </a:p>
        </p:txBody>
      </p:sp>
      <p:pic>
        <p:nvPicPr>
          <p:cNvPr id="3" name="Рисунок 2" descr="Изображение выглядит как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AD8C6C5E-C500-DD4D-99FE-8F7B3AB963B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922" y="1123713"/>
            <a:ext cx="8603886" cy="5887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429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10"/>
          <p:cNvSpPr txBox="1"/>
          <p:nvPr/>
        </p:nvSpPr>
        <p:spPr>
          <a:xfrm>
            <a:off x="1012369" y="4283212"/>
            <a:ext cx="2656114" cy="1126151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R="3081" algn="ctr">
              <a:lnSpc>
                <a:spcPct val="101499"/>
              </a:lnSpc>
              <a:spcBef>
                <a:spcPts val="55"/>
              </a:spcBef>
            </a:pPr>
            <a:r>
              <a:rPr lang="ru-RU" sz="12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се участники оборота сигарет и папирос должны подтверждать приемку и отгрузку продукции с помощью электронных универсальных передаточных документов (УПД)</a:t>
            </a:r>
            <a:endParaRPr sz="1182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object 12"/>
          <p:cNvSpPr txBox="1"/>
          <p:nvPr/>
        </p:nvSpPr>
        <p:spPr>
          <a:xfrm>
            <a:off x="4595678" y="4283213"/>
            <a:ext cx="3030122" cy="1499202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R="3081" algn="ctr">
              <a:lnSpc>
                <a:spcPct val="101499"/>
              </a:lnSpc>
              <a:spcBef>
                <a:spcPts val="55"/>
              </a:spcBef>
            </a:pPr>
            <a:r>
              <a:rPr lang="ru-RU" sz="12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покупке маркированной табачной продукции должны получить УПД в электронном виде от поставщика. Как правило, получение документов через ЭДО бесплатно для розницы. Оплачивать необходимо только исходящие документы, которые магазинам формировать не нужно</a:t>
            </a:r>
            <a:endParaRPr sz="1182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bject 14"/>
          <p:cNvSpPr txBox="1"/>
          <p:nvPr/>
        </p:nvSpPr>
        <p:spPr>
          <a:xfrm>
            <a:off x="8428774" y="4283213"/>
            <a:ext cx="3102428" cy="129966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algn="ctr" fontAlgn="base"/>
            <a:r>
              <a:rPr lang="ru-RU" sz="12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 УПД должны содержаться коды маркировки поставляемой продукции. Это могут быть коды как отдельных пачек, так и коды блоков или коробов. Магазину необходимо сравнить коды маркировки, указанные в документе, и нанесенные на принимаемую продукцию</a:t>
            </a:r>
          </a:p>
        </p:txBody>
      </p:sp>
      <p:sp>
        <p:nvSpPr>
          <p:cNvPr id="12" name="Нашивка 11"/>
          <p:cNvSpPr/>
          <p:nvPr/>
        </p:nvSpPr>
        <p:spPr>
          <a:xfrm>
            <a:off x="3884750" y="2567033"/>
            <a:ext cx="168278" cy="374328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 dirty="0">
              <a:solidFill>
                <a:schemeClr val="tx1"/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4" name="Нашивка 13"/>
          <p:cNvSpPr/>
          <p:nvPr/>
        </p:nvSpPr>
        <p:spPr>
          <a:xfrm>
            <a:off x="7820291" y="2565106"/>
            <a:ext cx="168278" cy="374328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 dirty="0">
              <a:solidFill>
                <a:schemeClr val="tx1"/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5282951" y="2121214"/>
            <a:ext cx="1250731" cy="1250731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Скругленный прямоугольник 22">
            <a:extLst>
              <a:ext uri="{FF2B5EF4-FFF2-40B4-BE49-F238E27FC236}">
                <a16:creationId xmlns:a16="http://schemas.microsoft.com/office/drawing/2014/main" id="{27402552-90E0-934D-AF76-D5182E0D92DA}"/>
              </a:ext>
            </a:extLst>
          </p:cNvPr>
          <p:cNvSpPr/>
          <p:nvPr/>
        </p:nvSpPr>
        <p:spPr>
          <a:xfrm>
            <a:off x="675039" y="699679"/>
            <a:ext cx="7916511" cy="84359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092B4A4-8EBD-5843-B00C-7CA7EEAFA313}"/>
              </a:ext>
            </a:extLst>
          </p:cNvPr>
          <p:cNvSpPr txBox="1"/>
          <p:nvPr/>
        </p:nvSpPr>
        <p:spPr>
          <a:xfrm>
            <a:off x="888228" y="862103"/>
            <a:ext cx="74703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авила маркировки с 1 июля 2020 года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FEA71CDE-2BFE-7E4C-82E9-6AA2FBA7FC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1303" y="1767943"/>
            <a:ext cx="2258872" cy="2258872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8BE61AAF-6A92-C846-AA81-EAC117EE5F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48740" y="2115959"/>
            <a:ext cx="2062497" cy="1528122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D285E9EE-50D0-6C42-AA3C-B4B979202D31}"/>
              </a:ext>
            </a:extLst>
          </p:cNvPr>
          <p:cNvSpPr txBox="1"/>
          <p:nvPr/>
        </p:nvSpPr>
        <p:spPr>
          <a:xfrm>
            <a:off x="1160979" y="3764138"/>
            <a:ext cx="21735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1 ИЮЛЯ 2020 ГОДА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8AA07EC-9283-9542-860B-E181705924C3}"/>
              </a:ext>
            </a:extLst>
          </p:cNvPr>
          <p:cNvSpPr txBox="1"/>
          <p:nvPr/>
        </p:nvSpPr>
        <p:spPr>
          <a:xfrm>
            <a:off x="4783734" y="3748750"/>
            <a:ext cx="2625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ЗНИЧНЫЕ МАГАЗИНЫ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C7CFB96-386C-5F4F-B9FC-919ADE3ED732}"/>
              </a:ext>
            </a:extLst>
          </p:cNvPr>
          <p:cNvSpPr txBox="1"/>
          <p:nvPr/>
        </p:nvSpPr>
        <p:spPr>
          <a:xfrm>
            <a:off x="8681958" y="3748750"/>
            <a:ext cx="280178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Ы МАРКИРОВКИ В УПД</a:t>
            </a:r>
          </a:p>
        </p:txBody>
      </p: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044B9201-708B-214F-9ECB-AD4E45E8D4A8}"/>
              </a:ext>
            </a:extLst>
          </p:cNvPr>
          <p:cNvCxnSpPr>
            <a:cxnSpLocks/>
          </p:cNvCxnSpPr>
          <p:nvPr/>
        </p:nvCxnSpPr>
        <p:spPr>
          <a:xfrm>
            <a:off x="3451277" y="3031137"/>
            <a:ext cx="1345157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B7D20CEC-0CF4-F64C-B222-8E2A8431CD47}"/>
              </a:ext>
            </a:extLst>
          </p:cNvPr>
          <p:cNvCxnSpPr>
            <a:cxnSpLocks/>
          </p:cNvCxnSpPr>
          <p:nvPr/>
        </p:nvCxnSpPr>
        <p:spPr>
          <a:xfrm>
            <a:off x="7336801" y="2995437"/>
            <a:ext cx="1345157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B4DF4246-C027-104D-9E07-4DE2E55A55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3911" y="2188405"/>
            <a:ext cx="1764346" cy="1333812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>
            <a:extLst>
              <a:ext uri="{FF2B5EF4-FFF2-40B4-BE49-F238E27FC236}">
                <a16:creationId xmlns:a16="http://schemas.microsoft.com/office/drawing/2014/main" id="{A4578CB5-802E-C541-AD84-10B9C2552EA4}"/>
              </a:ext>
            </a:extLst>
          </p:cNvPr>
          <p:cNvSpPr/>
          <p:nvPr/>
        </p:nvSpPr>
        <p:spPr>
          <a:xfrm>
            <a:off x="675040" y="699679"/>
            <a:ext cx="4936340" cy="17796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FB7467-AE0C-724E-BE7C-AB50EB53CB52}"/>
              </a:ext>
            </a:extLst>
          </p:cNvPr>
          <p:cNvSpPr txBox="1"/>
          <p:nvPr/>
        </p:nvSpPr>
        <p:spPr>
          <a:xfrm>
            <a:off x="973440" y="862103"/>
            <a:ext cx="105435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ребования к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рганизациям оптовой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рговли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" name="object 10"/>
          <p:cNvSpPr txBox="1"/>
          <p:nvPr/>
        </p:nvSpPr>
        <p:spPr>
          <a:xfrm>
            <a:off x="6245200" y="3232930"/>
            <a:ext cx="5271760" cy="332526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42900" lvl="0" indent="-342900" defTabSz="1193566" hangingPunct="0"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мпания оптовой торговли получает электронную накладную от производителя</a:t>
            </a:r>
          </a:p>
          <a:p>
            <a:pPr marL="342900" lvl="0" indent="-342900" defTabSz="1193566" hangingPunct="0"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Необходимо сверить коды упаковок или агрегации в накладной с теми, которые пришли по факту при помощи 2</a:t>
            </a:r>
            <a:r>
              <a:rPr lang="en-US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D</a:t>
            </a: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 сканера штрих-кода</a:t>
            </a:r>
          </a:p>
          <a:p>
            <a:pPr marL="342900" lvl="0" indent="-342900" defTabSz="1193566" hangingPunct="0"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Если фактичекские коды и указанные в электронной накладной сходятся, то необходимо принять накладную. Если нет, внести корректировки или полностью отказаться от накладной </a:t>
            </a:r>
          </a:p>
          <a:p>
            <a:pPr marL="342900" lvl="0" indent="-342900" defTabSz="1193566" hangingPunct="0">
              <a:spcBef>
                <a:spcPts val="1000"/>
              </a:spcBef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rgbClr val="212121">
                    <a:lumOff val="21764"/>
                  </a:srgb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рок подачи сведений, составляет 3 рабочих дня с даты приемки табачной продукции, но не позднее даты передачи этой табачной продукции третьим лицам</a:t>
            </a:r>
          </a:p>
          <a:p>
            <a:pPr marL="342900" lvl="0" indent="-342900" defTabSz="1193566" hangingPunct="0">
              <a:spcBef>
                <a:spcPts val="1000"/>
              </a:spcBef>
              <a:buFont typeface="Arial" pitchFamily="34" charset="0"/>
              <a:buChar char="•"/>
              <a:defRPr/>
            </a:pPr>
            <a:endParaRPr lang="ru-RU" sz="1400" dirty="0">
              <a:solidFill>
                <a:srgbClr val="212121">
                  <a:lumOff val="21764"/>
                </a:srgb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9" name="object 6"/>
          <p:cNvSpPr txBox="1"/>
          <p:nvPr/>
        </p:nvSpPr>
        <p:spPr>
          <a:xfrm>
            <a:off x="6279490" y="699679"/>
            <a:ext cx="4802620" cy="1338186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defTabSz="895773">
              <a:defRPr sz="1200">
                <a:solidFill>
                  <a:srgbClr val="58595B"/>
                </a:solidFill>
              </a:defRPr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  </a:t>
            </a:r>
            <a:r>
              <a:rPr lang="ru-RU" sz="1600" b="1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имание! 1 июля  2020 года:</a:t>
            </a:r>
          </a:p>
          <a:p>
            <a:pPr defTabSz="895773">
              <a:defRPr sz="1200">
                <a:solidFill>
                  <a:srgbClr val="58595B"/>
                </a:solidFill>
              </a:defRPr>
            </a:pP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defTabSz="895773">
              <a:buFont typeface="Arial" panose="020B0604020202020204" pitchFamily="34" charset="0"/>
              <a:buChar char="•"/>
              <a:defRPr sz="1200">
                <a:solidFill>
                  <a:srgbClr val="58595B"/>
                </a:solidFill>
              </a:defRPr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регистрация оптового оборота сигарет</a:t>
            </a:r>
          </a:p>
          <a:p>
            <a:pPr marL="285750" indent="-285750" defTabSz="895773">
              <a:buFont typeface="Arial" panose="020B0604020202020204" pitchFamily="34" charset="0"/>
              <a:buChar char="•"/>
              <a:defRPr sz="1200">
                <a:solidFill>
                  <a:srgbClr val="58595B"/>
                </a:solidFill>
              </a:defRPr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кращение оборота не маркированной продукции </a:t>
            </a:r>
          </a:p>
        </p:txBody>
      </p:sp>
      <p:pic>
        <p:nvPicPr>
          <p:cNvPr id="13" name="Рисунок 12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A21F06DD-43C1-EC4A-95F2-8D13D5998DA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63"/>
          <a:stretch/>
        </p:blipFill>
        <p:spPr>
          <a:xfrm>
            <a:off x="287213" y="2675875"/>
            <a:ext cx="4314709" cy="4035821"/>
          </a:xfrm>
          <a:prstGeom prst="rect">
            <a:avLst/>
          </a:prstGeom>
        </p:spPr>
      </p:pic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71046869-7D10-DD44-AA5B-59DB42B3610C}"/>
              </a:ext>
            </a:extLst>
          </p:cNvPr>
          <p:cNvCxnSpPr>
            <a:cxnSpLocks/>
          </p:cNvCxnSpPr>
          <p:nvPr/>
        </p:nvCxnSpPr>
        <p:spPr>
          <a:xfrm>
            <a:off x="6583285" y="2669636"/>
            <a:ext cx="4933675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0"/>
          <p:cNvSpPr txBox="1"/>
          <p:nvPr/>
        </p:nvSpPr>
        <p:spPr>
          <a:xfrm>
            <a:off x="458776" y="2646483"/>
            <a:ext cx="5027626" cy="3471463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42900" lvl="0" indent="-342900" defTabSz="1193566" hangingPunct="0">
              <a:spcBef>
                <a:spcPts val="500"/>
              </a:spcBef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огласно № 54-ФЗ для торговли подакцизными товарами необходимо использовать онлайн-кассу с возможностью расшифровки номенклатуры </a:t>
            </a:r>
          </a:p>
          <a:p>
            <a:pPr marL="342900" indent="-342900" defTabSz="1193566" hangingPunct="0">
              <a:spcBef>
                <a:spcPts val="500"/>
              </a:spcBef>
              <a:buFont typeface="Arial" pitchFamily="34" charset="0"/>
              <a:buChar char="•"/>
              <a:defRPr/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DataMatrix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код каждой пачки или блока сканируется при продаже. Сканер штрих-кода для ЕГАИС подойдет для работы с маркировкой</a:t>
            </a:r>
          </a:p>
          <a:p>
            <a:pPr marL="342900" indent="-342900" defTabSz="1193566" hangingPunct="0">
              <a:spcBef>
                <a:spcPts val="500"/>
              </a:spcBef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 кассовой техники должно формировать и отправлять в ОФД электронный кассовый чек с указанием кода маркировки товара </a:t>
            </a:r>
          </a:p>
          <a:p>
            <a:pPr marL="342900" indent="-342900" defTabSz="1193566" hangingPunct="0">
              <a:spcBef>
                <a:spcPts val="500"/>
              </a:spcBef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ФД передает электронный кассовый чек с указанием кода маркировки товара в систему Честный ЗНАК</a:t>
            </a:r>
          </a:p>
          <a:p>
            <a:pPr marL="342900" indent="-342900" defTabSz="1193566" hangingPunct="0">
              <a:spcBef>
                <a:spcPts val="500"/>
              </a:spcBef>
              <a:buFont typeface="Arial" pitchFamily="34" charset="0"/>
              <a:buChar char="•"/>
              <a:defRPr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ереход от бумажного документооборота на электронную накладную в форме УПД (универсальный передаточный документ) с 1 июля 2020 года</a:t>
            </a:r>
          </a:p>
          <a:p>
            <a:pPr marL="342900" indent="-342900" defTabSz="1193566" hangingPunct="0">
              <a:spcBef>
                <a:spcPts val="500"/>
              </a:spcBef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принимателям, которые используют кассы без передачи данных в ОФД, будет необходимо 1 раз в 30 дней вносить данные о кодах проданных пачек в личный кабинет системы "Честный ЗНАК"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/>
            </a:endParaRPr>
          </a:p>
        </p:txBody>
      </p:sp>
      <p:sp>
        <p:nvSpPr>
          <p:cNvPr id="7" name="object 6"/>
          <p:cNvSpPr txBox="1"/>
          <p:nvPr/>
        </p:nvSpPr>
        <p:spPr>
          <a:xfrm>
            <a:off x="825337" y="942049"/>
            <a:ext cx="4810069" cy="876521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defTabSz="895773">
              <a:defRPr sz="1200">
                <a:solidFill>
                  <a:srgbClr val="58595B"/>
                </a:solidFill>
              </a:defRPr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С 1 июля 2019 года </a:t>
            </a:r>
          </a:p>
          <a:p>
            <a:pPr defTabSz="895773">
              <a:defRPr sz="1200">
                <a:solidFill>
                  <a:srgbClr val="58595B"/>
                </a:solidFill>
              </a:defRPr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прещается розничная продажа маркированных сигарет без передачи сведений в систему Честный ЗНАК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09BB1E7-3A6B-994A-BAF3-ABA867A7C95A}"/>
              </a:ext>
            </a:extLst>
          </p:cNvPr>
          <p:cNvSpPr/>
          <p:nvPr/>
        </p:nvSpPr>
        <p:spPr>
          <a:xfrm>
            <a:off x="6096000" y="1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F715EBA-F2AB-254E-9BC3-DE0C34B82E35}"/>
              </a:ext>
            </a:extLst>
          </p:cNvPr>
          <p:cNvSpPr txBox="1"/>
          <p:nvPr/>
        </p:nvSpPr>
        <p:spPr>
          <a:xfrm>
            <a:off x="6984228" y="862103"/>
            <a:ext cx="3850734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ребования к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рганизации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зничной торговли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Рисунок 12" descr="Изображение выглядит как легкий, часы&#10;&#10;Автоматически созданное описание">
            <a:extLst>
              <a:ext uri="{FF2B5EF4-FFF2-40B4-BE49-F238E27FC236}">
                <a16:creationId xmlns:a16="http://schemas.microsoft.com/office/drawing/2014/main" id="{6312BD2B-066C-7C41-8E66-F75E4890CF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3803" y="3109200"/>
            <a:ext cx="3700168" cy="3352734"/>
          </a:xfrm>
          <a:prstGeom prst="rect">
            <a:avLst/>
          </a:prstGeom>
        </p:spPr>
      </p:pic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8B37730-2FB9-B04A-B26D-9ADCEBACF0F4}"/>
              </a:ext>
            </a:extLst>
          </p:cNvPr>
          <p:cNvCxnSpPr>
            <a:cxnSpLocks/>
          </p:cNvCxnSpPr>
          <p:nvPr/>
        </p:nvCxnSpPr>
        <p:spPr>
          <a:xfrm>
            <a:off x="825337" y="2203810"/>
            <a:ext cx="4557547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>
            <a:extLst>
              <a:ext uri="{FF2B5EF4-FFF2-40B4-BE49-F238E27FC236}">
                <a16:creationId xmlns:a16="http://schemas.microsoft.com/office/drawing/2014/main" id="{DC7FABF4-D4A7-4A4E-A63D-37B4CE828910}"/>
              </a:ext>
            </a:extLst>
          </p:cNvPr>
          <p:cNvSpPr/>
          <p:nvPr/>
        </p:nvSpPr>
        <p:spPr>
          <a:xfrm>
            <a:off x="675040" y="699679"/>
            <a:ext cx="4920217" cy="90052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4BCEDC8-9B7D-7046-A70D-47BEE4EEEE22}"/>
              </a:ext>
            </a:extLst>
          </p:cNvPr>
          <p:cNvSpPr txBox="1"/>
          <p:nvPr/>
        </p:nvSpPr>
        <p:spPr>
          <a:xfrm>
            <a:off x="973440" y="862103"/>
            <a:ext cx="105435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ации рознице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5FC6C55-B1A3-4988-A408-0F6A1C2E7913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921904" y="699680"/>
            <a:ext cx="2510101" cy="5436430"/>
          </a:xfrm>
          <a:prstGeom prst="rect">
            <a:avLst/>
          </a:prstGeom>
        </p:spPr>
      </p:pic>
      <p:sp>
        <p:nvSpPr>
          <p:cNvPr id="6" name="object 10"/>
          <p:cNvSpPr txBox="1"/>
          <p:nvPr/>
        </p:nvSpPr>
        <p:spPr>
          <a:xfrm>
            <a:off x="707569" y="4188302"/>
            <a:ext cx="7723789" cy="191039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lvl="0" indent="-285750" defTabSz="1193566" hangingPunct="0">
              <a:lnSpc>
                <a:spcPct val="150000"/>
              </a:lnSpc>
              <a:buClr>
                <a:srgbClr val="595959"/>
              </a:buClr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се производители сигарет выпускают </a:t>
            </a:r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исключительно маркированную продукцию</a:t>
            </a:r>
          </a:p>
          <a:p>
            <a:pPr marL="285750" lvl="0" indent="-285750" defTabSz="1193566" hangingPunct="0">
              <a:lnSpc>
                <a:spcPct val="150000"/>
              </a:lnSpc>
              <a:buClr>
                <a:srgbClr val="595959"/>
              </a:buClr>
              <a:buFont typeface="Wingdings" pitchFamily="2" charset="2"/>
              <a:buChar char="§"/>
              <a:defRPr/>
            </a:pPr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Обращайте внимание на дату производства 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и приемке.</a:t>
            </a:r>
            <a:b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</a:b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ся произведенная </a:t>
            </a:r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сле 1 июля 2019 года 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дукция должна быть промаркирована</a:t>
            </a:r>
          </a:p>
          <a:p>
            <a:pPr marL="285750" lvl="0" indent="-285750" defTabSz="1193566" hangingPunct="0">
              <a:lnSpc>
                <a:spcPct val="150000"/>
              </a:lnSpc>
              <a:buClr>
                <a:srgbClr val="595959"/>
              </a:buClr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веряйте продукцию при помощи </a:t>
            </a:r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мобильного приложения Честный знак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. </a:t>
            </a:r>
          </a:p>
          <a:p>
            <a:pPr marL="285750" lvl="0" indent="-285750" defTabSz="1193566" hangingPunct="0">
              <a:lnSpc>
                <a:spcPct val="150000"/>
              </a:lnSpc>
              <a:buClr>
                <a:srgbClr val="595959"/>
              </a:buClr>
              <a:buFont typeface="Wingdings" pitchFamily="2" charset="2"/>
              <a:buChar char="§"/>
              <a:defRPr/>
            </a:pPr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Более 200 тыс. потребителей 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уже используют приложение для проверок</a:t>
            </a:r>
          </a:p>
          <a:p>
            <a:pPr marL="285750" lvl="0" indent="-285750" defTabSz="1193566" hangingPunct="0">
              <a:lnSpc>
                <a:spcPct val="150000"/>
              </a:lnSpc>
              <a:buClr>
                <a:srgbClr val="595959"/>
              </a:buClr>
              <a:buFont typeface="Wingdings" pitchFamily="2" charset="2"/>
              <a:buChar char="§"/>
              <a:defRPr/>
            </a:pP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отребители могут </a:t>
            </a:r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проверять регистрацию торговой точки 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в системе маркировки</a:t>
            </a:r>
          </a:p>
        </p:txBody>
      </p:sp>
      <p:sp>
        <p:nvSpPr>
          <p:cNvPr id="9" name="object 6"/>
          <p:cNvSpPr txBox="1"/>
          <p:nvPr/>
        </p:nvSpPr>
        <p:spPr>
          <a:xfrm>
            <a:off x="707569" y="2460397"/>
            <a:ext cx="7117993" cy="1091965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defTabSz="895773">
              <a:defRPr sz="1200">
                <a:solidFill>
                  <a:srgbClr val="58595B"/>
                </a:solidFill>
              </a:defRPr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имание! </a:t>
            </a:r>
          </a:p>
          <a:p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ле 1 июля 2019 года прекращено производство сигарет без маркировки.</a:t>
            </a:r>
          </a:p>
          <a:p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/>
              </a:rPr>
              <a:t>За продажу немаркированной продукции выпущенной после 1 июля 2019 предусмотрены штрафы согласно статье 15.12 КоАП до 150 тыс. рублей с конфискацией продукции.</a:t>
            </a:r>
            <a:endParaRPr lang="ru-RU" sz="1400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9EF33F6F-A830-5241-9FE2-F016FCFE1E9D}"/>
              </a:ext>
            </a:extLst>
          </p:cNvPr>
          <p:cNvCxnSpPr>
            <a:cxnSpLocks/>
          </p:cNvCxnSpPr>
          <p:nvPr/>
        </p:nvCxnSpPr>
        <p:spPr>
          <a:xfrm>
            <a:off x="707569" y="2083039"/>
            <a:ext cx="7401261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F9274D34-9305-9349-AB66-243C410B1856}"/>
              </a:ext>
            </a:extLst>
          </p:cNvPr>
          <p:cNvCxnSpPr>
            <a:cxnSpLocks/>
          </p:cNvCxnSpPr>
          <p:nvPr/>
        </p:nvCxnSpPr>
        <p:spPr>
          <a:xfrm>
            <a:off x="707568" y="3926216"/>
            <a:ext cx="7401261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631F8C5B-8D78-5B42-8FED-DFD2552072BF}"/>
              </a:ext>
            </a:extLst>
          </p:cNvPr>
          <p:cNvSpPr/>
          <p:nvPr/>
        </p:nvSpPr>
        <p:spPr>
          <a:xfrm>
            <a:off x="6150900" y="1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ECBC58-562C-D74C-9D28-40B67C2D0CBF}"/>
              </a:ext>
            </a:extLst>
          </p:cNvPr>
          <p:cNvSpPr txBox="1"/>
          <p:nvPr/>
        </p:nvSpPr>
        <p:spPr>
          <a:xfrm>
            <a:off x="7039128" y="862103"/>
            <a:ext cx="36327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к работать с УПД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4" name="object 10"/>
          <p:cNvSpPr txBox="1"/>
          <p:nvPr/>
        </p:nvSpPr>
        <p:spPr>
          <a:xfrm>
            <a:off x="842457" y="3498424"/>
            <a:ext cx="4741910" cy="25968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fontAlgn="base"/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арианты работы с электронными документами:</a:t>
            </a:r>
          </a:p>
          <a:p>
            <a:pPr fontAlgn="base"/>
            <a:endParaRPr lang="ru-RU" sz="1400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400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400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ичный кабинет оператора ЭДО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 — позволяет выполнять все действия по приемке табачной продукции. </a:t>
            </a:r>
          </a:p>
          <a:p>
            <a:pPr fontAlgn="base"/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ем документов бесплатный в базовых пакетах!</a:t>
            </a:r>
          </a:p>
          <a:p>
            <a:pPr fontAlgn="base">
              <a:buFont typeface="Arial" panose="020B0604020202020204" pitchFamily="34" charset="0"/>
              <a:buChar char="•"/>
            </a:pPr>
            <a:endParaRPr lang="ru-RU" sz="1400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етное и кассовое ПО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интегрированное с системами ЭДО — для настройки интеграции с ЭДО необходимо обратиться к поставщику программного продукта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B6C1A53E-2110-1045-82B5-98CB7806E2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05407" y="3298033"/>
            <a:ext cx="3700168" cy="2797256"/>
          </a:xfrm>
          <a:prstGeom prst="rect">
            <a:avLst/>
          </a:prstGeom>
        </p:spPr>
      </p:pic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EC5010-C933-0041-A23F-2B7479148832}"/>
              </a:ext>
            </a:extLst>
          </p:cNvPr>
          <p:cNvCxnSpPr>
            <a:cxnSpLocks/>
          </p:cNvCxnSpPr>
          <p:nvPr/>
        </p:nvCxnSpPr>
        <p:spPr>
          <a:xfrm>
            <a:off x="842457" y="4037241"/>
            <a:ext cx="4428790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79"/>
          <p:cNvSpPr/>
          <p:nvPr/>
        </p:nvSpPr>
        <p:spPr>
          <a:xfrm>
            <a:off x="6920036" y="894222"/>
            <a:ext cx="4419594" cy="97299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ru-RU" sz="16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арианты проверки соответствия кодов на товаре и в электронном документе:</a:t>
            </a:r>
          </a:p>
        </p:txBody>
      </p:sp>
      <p:sp>
        <p:nvSpPr>
          <p:cNvPr id="12" name="object 10"/>
          <p:cNvSpPr txBox="1"/>
          <p:nvPr/>
        </p:nvSpPr>
        <p:spPr>
          <a:xfrm>
            <a:off x="6710668" y="2678312"/>
            <a:ext cx="4529354" cy="2812308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indent="-285750" fontAlgn="base">
              <a:buFont typeface="Wingdings" pitchFamily="2" charset="2"/>
              <a:buChar char="§"/>
            </a:pPr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верительная приемка 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— приемка продукции выполняется без проверки, на основании документа поставщика продукции</a:t>
            </a:r>
            <a:endParaRPr lang="en-US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Wingdings" pitchFamily="2" charset="2"/>
              <a:buChar char="§"/>
            </a:pPr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Wingdings" pitchFamily="2" charset="2"/>
              <a:buChar char="§"/>
            </a:pPr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астичная проверка 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— проверка соответствия кода нескольких единиц товара из поставки</a:t>
            </a:r>
          </a:p>
          <a:p>
            <a:pPr fontAlgn="base"/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  (Необходим 2D сканер штрих-кода)</a:t>
            </a:r>
            <a:endParaRPr lang="en-US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Wingdings" pitchFamily="2" charset="2"/>
              <a:buChar char="§"/>
            </a:pPr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Wingdings" pitchFamily="2" charset="2"/>
              <a:buChar char="§"/>
            </a:pPr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лная проверка 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— проверка соответствия кодов всех упаковок из поставки</a:t>
            </a:r>
          </a:p>
          <a:p>
            <a:pPr fontAlgn="base"/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  (Необходим 2D сканер штрих-кода)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B7A6DF7-9B6A-1242-A2D6-C5897ECD6094}"/>
              </a:ext>
            </a:extLst>
          </p:cNvPr>
          <p:cNvSpPr/>
          <p:nvPr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2E0FD6A-59D8-B549-BEAE-AB6C0072FD80}"/>
              </a:ext>
            </a:extLst>
          </p:cNvPr>
          <p:cNvSpPr txBox="1"/>
          <p:nvPr/>
        </p:nvSpPr>
        <p:spPr>
          <a:xfrm>
            <a:off x="888228" y="862103"/>
            <a:ext cx="433644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ерка соответствия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ов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3838E47-BF6D-6142-9ABE-47D4ED73CE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228" y="2678312"/>
            <a:ext cx="3639083" cy="3468235"/>
          </a:xfrm>
          <a:prstGeom prst="rect">
            <a:avLst/>
          </a:prstGeom>
        </p:spPr>
      </p:pic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691699B6-D311-A049-BCF5-8369FBE01318}"/>
              </a:ext>
            </a:extLst>
          </p:cNvPr>
          <p:cNvCxnSpPr>
            <a:cxnSpLocks/>
          </p:cNvCxnSpPr>
          <p:nvPr/>
        </p:nvCxnSpPr>
        <p:spPr>
          <a:xfrm>
            <a:off x="7013341" y="2045716"/>
            <a:ext cx="4326289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043F1D02-1E0F-BD4D-9382-4972383EDD48}"/>
              </a:ext>
            </a:extLst>
          </p:cNvPr>
          <p:cNvSpPr/>
          <p:nvPr/>
        </p:nvSpPr>
        <p:spPr>
          <a:xfrm>
            <a:off x="0" y="1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6" name="Rectangle 179"/>
          <p:cNvSpPr/>
          <p:nvPr/>
        </p:nvSpPr>
        <p:spPr>
          <a:xfrm>
            <a:off x="6709550" y="954509"/>
            <a:ext cx="10592465" cy="5759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нужно сделать для получения </a:t>
            </a:r>
          </a:p>
          <a:p>
            <a:pPr fontAlgn="base"/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анной продукции по ЭДО:</a:t>
            </a:r>
          </a:p>
        </p:txBody>
      </p:sp>
      <p:sp>
        <p:nvSpPr>
          <p:cNvPr id="7" name="object 10"/>
          <p:cNvSpPr txBox="1"/>
          <p:nvPr/>
        </p:nvSpPr>
        <p:spPr>
          <a:xfrm>
            <a:off x="7580819" y="2644991"/>
            <a:ext cx="3847926" cy="345863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fontAlgn="base"/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лючить договор с оператором 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лектронного документооборота, получить идентификатор участника ЭДО</a:t>
            </a: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лючить дополнительное соглашение с поставщиком 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чной продукции об использовании электронных документов (УПД)</a:t>
            </a: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править приглашение поставщику 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дальнейшего обмена с ним по ЭДО. </a:t>
            </a:r>
          </a:p>
          <a:p>
            <a:pPr fontAlgn="base"/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необходимости, обратитесь за консультацией в поддержку оператора ЭДО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EDAA7FF9-EA53-B34A-937A-726055AB5D8D}"/>
              </a:ext>
            </a:extLst>
          </p:cNvPr>
          <p:cNvGrpSpPr/>
          <p:nvPr/>
        </p:nvGrpSpPr>
        <p:grpSpPr>
          <a:xfrm>
            <a:off x="6755969" y="2678593"/>
            <a:ext cx="575920" cy="575920"/>
            <a:chOff x="6678629" y="1933571"/>
            <a:chExt cx="575920" cy="575920"/>
          </a:xfrm>
        </p:grpSpPr>
        <p:sp>
          <p:nvSpPr>
            <p:cNvPr id="19" name="Скругленный прямоугольник 18">
              <a:extLst>
                <a:ext uri="{FF2B5EF4-FFF2-40B4-BE49-F238E27FC236}">
                  <a16:creationId xmlns:a16="http://schemas.microsoft.com/office/drawing/2014/main" id="{9A6DC853-CBDB-C944-96DC-26889068AB69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80FAD156-A4B1-7741-B70F-D0479578A75D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DA5D5B5E-3C3B-E446-A13C-F9C9D6B90952}"/>
              </a:ext>
            </a:extLst>
          </p:cNvPr>
          <p:cNvGrpSpPr/>
          <p:nvPr/>
        </p:nvGrpSpPr>
        <p:grpSpPr>
          <a:xfrm>
            <a:off x="6755969" y="3866299"/>
            <a:ext cx="575920" cy="575920"/>
            <a:chOff x="6678629" y="1933571"/>
            <a:chExt cx="575920" cy="575920"/>
          </a:xfrm>
        </p:grpSpPr>
        <p:sp>
          <p:nvSpPr>
            <p:cNvPr id="22" name="Скругленный прямоугольник 21">
              <a:extLst>
                <a:ext uri="{FF2B5EF4-FFF2-40B4-BE49-F238E27FC236}">
                  <a16:creationId xmlns:a16="http://schemas.microsoft.com/office/drawing/2014/main" id="{B45038D3-C99E-A240-AB91-12426FB3F3B4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169ADDBE-0071-6744-A80F-2DEF1CAD56C0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79742096-47D0-9440-A7ED-BE708862E082}"/>
              </a:ext>
            </a:extLst>
          </p:cNvPr>
          <p:cNvGrpSpPr/>
          <p:nvPr/>
        </p:nvGrpSpPr>
        <p:grpSpPr>
          <a:xfrm>
            <a:off x="6755969" y="5263142"/>
            <a:ext cx="575920" cy="575920"/>
            <a:chOff x="6678629" y="1933571"/>
            <a:chExt cx="575920" cy="575920"/>
          </a:xfrm>
        </p:grpSpPr>
        <p:sp>
          <p:nvSpPr>
            <p:cNvPr id="25" name="Скругленный прямоугольник 24">
              <a:extLst>
                <a:ext uri="{FF2B5EF4-FFF2-40B4-BE49-F238E27FC236}">
                  <a16:creationId xmlns:a16="http://schemas.microsoft.com/office/drawing/2014/main" id="{7CA25986-0F6B-684A-B1AC-1E9E817CD03C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:a16="http://schemas.microsoft.com/office/drawing/2014/main" id="{8CCA4AE9-1807-D741-AD86-C9686749E796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3</a:t>
              </a:r>
            </a:p>
          </p:txBody>
        </p:sp>
      </p:grp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CE7CFD70-AEFD-CC4A-A930-985F11BD3E9B}"/>
              </a:ext>
            </a:extLst>
          </p:cNvPr>
          <p:cNvSpPr/>
          <p:nvPr/>
        </p:nvSpPr>
        <p:spPr>
          <a:xfrm>
            <a:off x="675040" y="699679"/>
            <a:ext cx="4196971" cy="126390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B382ACD-D8E4-9245-A106-83854DB9866A}"/>
              </a:ext>
            </a:extLst>
          </p:cNvPr>
          <p:cNvSpPr txBox="1"/>
          <p:nvPr/>
        </p:nvSpPr>
        <p:spPr>
          <a:xfrm>
            <a:off x="888228" y="862103"/>
            <a:ext cx="398378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струкция по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ключению к ЭДО</a:t>
            </a:r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5DD3945B-B188-FB40-8339-D288F94D738B}"/>
              </a:ext>
            </a:extLst>
          </p:cNvPr>
          <p:cNvCxnSpPr>
            <a:cxnSpLocks/>
          </p:cNvCxnSpPr>
          <p:nvPr/>
        </p:nvCxnSpPr>
        <p:spPr>
          <a:xfrm>
            <a:off x="6755969" y="2015036"/>
            <a:ext cx="442910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Рисунок 41" descr="Изображение выглядит как часы&#10;&#10;Автоматически созданное описание">
            <a:extLst>
              <a:ext uri="{FF2B5EF4-FFF2-40B4-BE49-F238E27FC236}">
                <a16:creationId xmlns:a16="http://schemas.microsoft.com/office/drawing/2014/main" id="{9E267FD7-A018-6948-972A-CA03FA4EC3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367" y="3494791"/>
            <a:ext cx="2399170" cy="235400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247D74C6-B4B6-4677-B463-0C59882A9188}"/>
              </a:ext>
            </a:extLst>
          </p:cNvPr>
          <p:cNvSpPr/>
          <p:nvPr/>
        </p:nvSpPr>
        <p:spPr>
          <a:xfrm>
            <a:off x="575160" y="1600200"/>
            <a:ext cx="11041680" cy="5000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такое ЭДО-</a:t>
            </a: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айт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?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сплатный функционал для работы с электронными документами по отгрузке и приемке маркированных товаров. Функционал встроен в Личный Кабинет зарегистрированного участника оборота «Честный Знак».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§"/>
            </a:pP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реализовано в ЭДО-</a:t>
            </a: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айт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?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мен документами только с контрагентами, зарегистрированными  в ГИС МТ в качестве участников оборота маркируемой продукции;</a:t>
            </a:r>
          </a:p>
          <a:p>
            <a:pPr marL="285750" indent="-285750" algn="just">
              <a:buFont typeface="Wingdings" pitchFamily="2" charset="2"/>
              <a:buChar char="§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мен только формализованными документами, содержащими коды маркировки:</a:t>
            </a:r>
          </a:p>
          <a:p>
            <a:pPr marL="285750" indent="-285750" algn="just">
              <a:buFont typeface="Wingdings" pitchFamily="2" charset="2"/>
              <a:buChar char="§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 (СЧФДОП, ДОП);</a:t>
            </a:r>
          </a:p>
          <a:p>
            <a:pPr marL="285750" indent="-285750" algn="just">
              <a:buFont typeface="Wingdings" pitchFamily="2" charset="2"/>
              <a:buChar char="§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Д (КСЧФДОП, ДИС).</a:t>
            </a:r>
          </a:p>
          <a:p>
            <a:pPr marL="285750" indent="-285750" algn="just">
              <a:buFont typeface="Wingdings" pitchFamily="2" charset="2"/>
              <a:buChar char="§"/>
            </a:pP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граничения в ЭДО-</a:t>
            </a: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айт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?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 доступен обмен формализованными документами, которые НЕ содержат кодов маркировки.</a:t>
            </a:r>
          </a:p>
          <a:p>
            <a:pPr marL="285750" indent="-285750" algn="just">
              <a:buFont typeface="Wingdings" pitchFamily="2" charset="2"/>
              <a:buChar char="§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 доступен обмен неформализованными документами между участниками.</a:t>
            </a:r>
          </a:p>
          <a:p>
            <a:pPr marL="285750" indent="-285750" algn="just">
              <a:buFont typeface="Wingdings" pitchFamily="2" charset="2"/>
              <a:buChar char="§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граничение по работе с 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API 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 </a:t>
            </a:r>
            <a:r>
              <a:rPr lang="ru-RU" sz="1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айт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оставляет – 1000 исходящих документов в год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жет ли ЭДО-</a:t>
            </a: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айт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работать с другими ЭДО-операторами?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уминг с ЭДО- операторами будет реализован, в том числе функционал УПД/</a:t>
            </a:r>
            <a:r>
              <a:rPr lang="ru-RU" sz="1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Ди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УКД/</a:t>
            </a:r>
            <a:r>
              <a:rPr lang="ru-RU" sz="1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Ди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 </a:t>
            </a:r>
          </a:p>
          <a:p>
            <a:pPr algn="just"/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algn="just">
              <a:lnSpc>
                <a:spcPct val="150000"/>
              </a:lnSpc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жет ли УПД  в ЭДО- </a:t>
            </a:r>
            <a:r>
              <a:rPr lang="ru-RU" sz="1400" b="1" dirty="0" err="1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айт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содержать товары не подлежащие маркировке?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а, УПД может содержать как маркированный так и немаркированный товар.</a:t>
            </a:r>
          </a:p>
        </p:txBody>
      </p:sp>
      <p:sp>
        <p:nvSpPr>
          <p:cNvPr id="8" name="Скругленный прямоугольник 7">
            <a:extLst>
              <a:ext uri="{FF2B5EF4-FFF2-40B4-BE49-F238E27FC236}">
                <a16:creationId xmlns:a16="http://schemas.microsoft.com/office/drawing/2014/main" id="{DDB08A3D-F2DE-2A4E-BAEB-47FA0BA07CE8}"/>
              </a:ext>
            </a:extLst>
          </p:cNvPr>
          <p:cNvSpPr/>
          <p:nvPr/>
        </p:nvSpPr>
        <p:spPr>
          <a:xfrm>
            <a:off x="398814" y="411842"/>
            <a:ext cx="8515456" cy="90052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8BF903C-0D91-0F43-97C6-E52E19580AA5}"/>
              </a:ext>
            </a:extLst>
          </p:cNvPr>
          <p:cNvSpPr txBox="1"/>
          <p:nvPr/>
        </p:nvSpPr>
        <p:spPr>
          <a:xfrm>
            <a:off x="575160" y="600492"/>
            <a:ext cx="9743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О</a:t>
            </a:r>
            <a:r>
              <a:rPr lang="en-US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lite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720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79"/>
          <p:cNvSpPr/>
          <p:nvPr/>
        </p:nvSpPr>
        <p:spPr>
          <a:xfrm>
            <a:off x="641790" y="2769745"/>
            <a:ext cx="4789728" cy="94035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вщик формирует поставку маркированной продукции и УПД со списком кодов маркировки</a:t>
            </a:r>
          </a:p>
        </p:txBody>
      </p:sp>
      <p:sp>
        <p:nvSpPr>
          <p:cNvPr id="9" name="object 10"/>
          <p:cNvSpPr txBox="1"/>
          <p:nvPr/>
        </p:nvSpPr>
        <p:spPr>
          <a:xfrm>
            <a:off x="701209" y="4484786"/>
            <a:ext cx="4953903" cy="167353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fontAlgn="base"/>
            <a:r>
              <a:rPr lang="ru-RU" sz="12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газин получает от поставщика маркированный товар и электронную УПД. Проверяет соответствие кодов в УПД и на продукции. </a:t>
            </a:r>
            <a:endParaRPr lang="en-US" sz="12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2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2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 случае полного соответствия кодов полученного товара с кодами в УПД, магазин подтверждает документ. </a:t>
            </a:r>
            <a:endParaRPr lang="en-US" sz="12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en-US" sz="12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2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Если коды не совпадают, магазин может запросить корректировку или исправление у поставщика.</a:t>
            </a:r>
          </a:p>
        </p:txBody>
      </p:sp>
      <p:sp>
        <p:nvSpPr>
          <p:cNvPr id="10" name="Скругленный прямоугольник 9">
            <a:extLst>
              <a:ext uri="{FF2B5EF4-FFF2-40B4-BE49-F238E27FC236}">
                <a16:creationId xmlns:a16="http://schemas.microsoft.com/office/drawing/2014/main" id="{B72A29E1-E8DD-CE4B-B9AA-4BEE5B21A6AF}"/>
              </a:ext>
            </a:extLst>
          </p:cNvPr>
          <p:cNvSpPr/>
          <p:nvPr/>
        </p:nvSpPr>
        <p:spPr>
          <a:xfrm>
            <a:off x="675040" y="699679"/>
            <a:ext cx="4345847" cy="12953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560166F-76F1-904E-BD47-6E5644087EFE}"/>
              </a:ext>
            </a:extLst>
          </p:cNvPr>
          <p:cNvSpPr txBox="1"/>
          <p:nvPr/>
        </p:nvSpPr>
        <p:spPr>
          <a:xfrm>
            <a:off x="888228" y="862103"/>
            <a:ext cx="393889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емка продукции 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УПД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29B00E84-4C34-5D47-9D96-5F5F312FAC2B}"/>
              </a:ext>
            </a:extLst>
          </p:cNvPr>
          <p:cNvCxnSpPr>
            <a:cxnSpLocks/>
          </p:cNvCxnSpPr>
          <p:nvPr/>
        </p:nvCxnSpPr>
        <p:spPr>
          <a:xfrm>
            <a:off x="701209" y="2548865"/>
            <a:ext cx="4319678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38862E98-5277-2C41-BEEC-380988E92B2A}"/>
              </a:ext>
            </a:extLst>
          </p:cNvPr>
          <p:cNvCxnSpPr>
            <a:cxnSpLocks/>
          </p:cNvCxnSpPr>
          <p:nvPr/>
        </p:nvCxnSpPr>
        <p:spPr>
          <a:xfrm>
            <a:off x="701209" y="3980850"/>
            <a:ext cx="4319678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>
            <a:extLst>
              <a:ext uri="{FF2B5EF4-FFF2-40B4-BE49-F238E27FC236}">
                <a16:creationId xmlns:a16="http://schemas.microsoft.com/office/drawing/2014/main" id="{6D55FD29-C9B4-CD4E-9C84-77994842C4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96000" y="2109386"/>
            <a:ext cx="5828619" cy="3742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80989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675038" y="2551887"/>
            <a:ext cx="9954861" cy="106146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700"/>
            <a:r>
              <a:rPr lang="ru-RU" b="1" spc="10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едеральный </a:t>
            </a:r>
            <a:r>
              <a:rPr lang="ru-RU" b="1" spc="5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кон </a:t>
            </a:r>
            <a:r>
              <a:rPr lang="en-US" b="1" spc="10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N</a:t>
            </a:r>
            <a:r>
              <a:rPr lang="en-US" b="1" spc="-15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b="1" spc="10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5-</a:t>
            </a:r>
            <a:r>
              <a:rPr lang="ru-RU" b="1" spc="10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З</a:t>
            </a:r>
          </a:p>
          <a:p>
            <a:pPr marL="12700"/>
            <a:r>
              <a:rPr lang="ru-RU" sz="1400" spc="1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12700"/>
            <a:r>
              <a:rPr lang="ru-RU" sz="1400" spc="1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Об </a:t>
            </a:r>
            <a:r>
              <a:rPr lang="ru-RU" sz="1400" spc="5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хране </a:t>
            </a:r>
            <a:r>
              <a:rPr lang="ru-RU" sz="1400" spc="2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доровья </a:t>
            </a:r>
            <a:r>
              <a:rPr lang="ru-RU" sz="1400" spc="2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раждан </a:t>
            </a:r>
            <a:r>
              <a:rPr lang="ru-RU" sz="1400" spc="1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</a:t>
            </a:r>
            <a:r>
              <a:rPr lang="ru-RU" sz="1400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здействия </a:t>
            </a:r>
            <a:r>
              <a:rPr lang="ru-RU" sz="1400" spc="2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кружающего</a:t>
            </a:r>
            <a:r>
              <a:rPr lang="ru-RU" sz="1400" spc="32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spc="3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чного</a:t>
            </a:r>
            <a:r>
              <a:rPr lang="ru-RU" sz="1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spc="-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ыма </a:t>
            </a:r>
            <a:r>
              <a:rPr lang="ru-RU" sz="1400" spc="2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400" spc="2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ледствий потребления </a:t>
            </a:r>
            <a:r>
              <a:rPr lang="ru-RU" sz="1400" spc="2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ка»</a:t>
            </a:r>
            <a:r>
              <a:rPr lang="ru-RU" sz="1400" spc="3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  <a:p>
            <a:pPr marL="12700"/>
            <a:r>
              <a:rPr lang="ru-RU" sz="1400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тья 18</a:t>
            </a:r>
            <a:endParaRPr lang="ru-RU" sz="14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4F61C7DE-3795-4CDE-9963-A89C21C504A2}"/>
              </a:ext>
            </a:extLst>
          </p:cNvPr>
          <p:cNvSpPr/>
          <p:nvPr/>
        </p:nvSpPr>
        <p:spPr>
          <a:xfrm>
            <a:off x="675038" y="4559085"/>
            <a:ext cx="10779900" cy="158505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341" tIns="46671" rIns="93341" bIns="466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2700">
              <a:spcBef>
                <a:spcPts val="114"/>
              </a:spcBef>
            </a:pPr>
            <a:r>
              <a:rPr lang="ru-RU" b="1" spc="5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новление правительства</a:t>
            </a:r>
            <a:r>
              <a:rPr lang="ru-RU" b="1" spc="-45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b="1" spc="10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№224</a:t>
            </a:r>
            <a:endParaRPr lang="ru-RU" spc="15" dirty="0">
              <a:solidFill>
                <a:srgbClr val="6D6E71"/>
              </a:solidFill>
              <a:highlight>
                <a:srgbClr val="FFFF00"/>
              </a:highlight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2700"/>
            <a:r>
              <a:rPr lang="ru-RU" sz="1400" spc="1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</a:t>
            </a:r>
            <a:r>
              <a:rPr lang="ru-RU" sz="1400" spc="9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8 </a:t>
            </a:r>
            <a:r>
              <a:rPr lang="ru-RU" sz="1400" spc="4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февраля </a:t>
            </a:r>
            <a:r>
              <a:rPr lang="ru-RU" sz="1400" spc="9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9</a:t>
            </a:r>
            <a:r>
              <a:rPr lang="ru-RU" sz="1400" spc="1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да</a:t>
            </a:r>
          </a:p>
          <a:p>
            <a:pPr marL="12700"/>
            <a:endParaRPr lang="ru-RU" sz="14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12700" marR="5080"/>
            <a:r>
              <a:rPr lang="ru-RU" sz="1400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тверждены </a:t>
            </a:r>
            <a:r>
              <a:rPr lang="ru-RU" sz="1400" spc="3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авила </a:t>
            </a:r>
            <a:r>
              <a:rPr lang="ru-RU" sz="1400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и </a:t>
            </a:r>
            <a:r>
              <a:rPr lang="ru-RU" sz="1400" spc="3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чной </a:t>
            </a:r>
            <a:r>
              <a:rPr lang="ru-RU" sz="1400" spc="2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и </a:t>
            </a:r>
            <a:r>
              <a:rPr lang="ru-RU" sz="1400" spc="2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едствами  </a:t>
            </a:r>
            <a:r>
              <a:rPr lang="ru-RU" sz="1400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дентификации </a:t>
            </a:r>
            <a:r>
              <a:rPr lang="ru-RU" sz="1400" spc="2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особенности </a:t>
            </a:r>
            <a:r>
              <a:rPr lang="ru-RU" sz="1400" spc="2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недрения </a:t>
            </a:r>
            <a:r>
              <a:rPr lang="ru-RU" sz="1400" spc="2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государственной  </a:t>
            </a:r>
            <a:r>
              <a:rPr lang="ru-RU" sz="1400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онной </a:t>
            </a:r>
            <a:r>
              <a:rPr lang="ru-RU" sz="1400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ы </a:t>
            </a:r>
            <a:r>
              <a:rPr lang="ru-RU" sz="1400" spc="2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ниторинга </a:t>
            </a:r>
            <a:r>
              <a:rPr lang="ru-RU" sz="1400" spc="4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</a:t>
            </a:r>
            <a:r>
              <a:rPr lang="ru-RU" sz="1400" spc="27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оротом</a:t>
            </a:r>
            <a:r>
              <a:rPr lang="ru-RU" sz="1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spc="2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варов, </a:t>
            </a:r>
            <a:r>
              <a:rPr lang="ru-RU" sz="1400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длежащих </a:t>
            </a:r>
            <a:r>
              <a:rPr lang="ru-RU" sz="1400" spc="2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ой </a:t>
            </a:r>
            <a:r>
              <a:rPr lang="ru-RU" sz="1400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е</a:t>
            </a:r>
            <a:r>
              <a:rPr lang="ru-RU" sz="1400" spc="-7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spc="2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едствами  </a:t>
            </a:r>
            <a:r>
              <a:rPr lang="ru-RU" sz="1400" spc="2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дентификации, </a:t>
            </a:r>
            <a:r>
              <a:rPr lang="ru-RU" sz="1400" spc="5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400" spc="2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ношении </a:t>
            </a:r>
            <a:r>
              <a:rPr lang="ru-RU" sz="1400" spc="3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чной</a:t>
            </a:r>
            <a:r>
              <a:rPr lang="ru-RU" sz="1400" spc="-7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и</a:t>
            </a:r>
          </a:p>
          <a:p>
            <a:pPr marL="12700" marR="5080"/>
            <a:r>
              <a:rPr lang="ru-RU" sz="1400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менения в ППР №224 описанные в </a:t>
            </a:r>
            <a:r>
              <a:rPr lang="ru-RU" sz="1400" b="1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новлении Правительства №1250 от 26.09.2019 г.</a:t>
            </a:r>
            <a:endParaRPr lang="ru-RU" sz="1400" b="1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Скругленный прямоугольник 28">
            <a:extLst>
              <a:ext uri="{FF2B5EF4-FFF2-40B4-BE49-F238E27FC236}">
                <a16:creationId xmlns:a16="http://schemas.microsoft.com/office/drawing/2014/main" id="{64FAC0FD-8DD8-C345-B9CD-152CE892BDD3}"/>
              </a:ext>
            </a:extLst>
          </p:cNvPr>
          <p:cNvSpPr/>
          <p:nvPr/>
        </p:nvSpPr>
        <p:spPr>
          <a:xfrm>
            <a:off x="675039" y="699679"/>
            <a:ext cx="9954861" cy="906476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95C4A65-3380-6448-A0C6-04186ED210DF}"/>
              </a:ext>
            </a:extLst>
          </p:cNvPr>
          <p:cNvSpPr txBox="1"/>
          <p:nvPr/>
        </p:nvSpPr>
        <p:spPr>
          <a:xfrm>
            <a:off x="888228" y="862103"/>
            <a:ext cx="95767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ормативная база маркировки табачной продукции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1DAF4DA1-95C2-3E41-8F55-E91A5D0518E4}"/>
              </a:ext>
            </a:extLst>
          </p:cNvPr>
          <p:cNvCxnSpPr>
            <a:cxnSpLocks/>
          </p:cNvCxnSpPr>
          <p:nvPr/>
        </p:nvCxnSpPr>
        <p:spPr>
          <a:xfrm>
            <a:off x="774788" y="3952581"/>
            <a:ext cx="10680150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0099" name="Picture 3"/>
          <p:cNvPicPr>
            <a:picLocks noChangeAspect="1" noChangeArrowheads="1"/>
          </p:cNvPicPr>
          <p:nvPr/>
        </p:nvPicPr>
        <p:blipFill rotWithShape="1">
          <a:blip r:embed="rId2" cstate="print"/>
          <a:srcRect r="35212"/>
          <a:stretch/>
        </p:blipFill>
        <p:spPr bwMode="auto">
          <a:xfrm>
            <a:off x="5729354" y="2030505"/>
            <a:ext cx="4631611" cy="46958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79"/>
          <p:cNvSpPr/>
          <p:nvPr/>
        </p:nvSpPr>
        <p:spPr>
          <a:xfrm>
            <a:off x="581734" y="2297630"/>
            <a:ext cx="5365489" cy="94035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хема исправления ошибок при приемке и корректировке УПД</a:t>
            </a:r>
          </a:p>
        </p:txBody>
      </p:sp>
      <p:sp>
        <p:nvSpPr>
          <p:cNvPr id="6" name="object 10"/>
          <p:cNvSpPr txBox="1"/>
          <p:nvPr/>
        </p:nvSpPr>
        <p:spPr>
          <a:xfrm>
            <a:off x="633881" y="3719401"/>
            <a:ext cx="4931839" cy="2596865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fontAlgn="base"/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необходимости внесения изменений в УПД в случае расхождения стоимости, количества товара, кодов маркировки и прочего, он направляет сообщение поставщику о выявленных несоответствиях. </a:t>
            </a: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вщик корректирует или исправляет УПД и отправляет скорректированный документ магазину.</a:t>
            </a: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ю о выявленных расхождениях Покупатель может сообщить Поставщику в форме ТОРГ-2, Уведомление об уточнение, </a:t>
            </a:r>
            <a:r>
              <a:rPr lang="en-US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mail 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иная форма сообщения, без подачи сведений в «Честный Знак»  </a:t>
            </a:r>
          </a:p>
        </p:txBody>
      </p:sp>
      <p:sp>
        <p:nvSpPr>
          <p:cNvPr id="7" name="Скругленный прямоугольник 6">
            <a:extLst>
              <a:ext uri="{FF2B5EF4-FFF2-40B4-BE49-F238E27FC236}">
                <a16:creationId xmlns:a16="http://schemas.microsoft.com/office/drawing/2014/main" id="{001E9210-B242-9347-9FBB-779BF82D0AED}"/>
              </a:ext>
            </a:extLst>
          </p:cNvPr>
          <p:cNvSpPr/>
          <p:nvPr/>
        </p:nvSpPr>
        <p:spPr>
          <a:xfrm>
            <a:off x="675040" y="699678"/>
            <a:ext cx="4341241" cy="1330827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E162F7-58F8-C84D-912B-DEB592473971}"/>
              </a:ext>
            </a:extLst>
          </p:cNvPr>
          <p:cNvSpPr txBox="1"/>
          <p:nvPr/>
        </p:nvSpPr>
        <p:spPr>
          <a:xfrm>
            <a:off x="888228" y="862103"/>
            <a:ext cx="412805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правление ошибок </a:t>
            </a:r>
            <a:endParaRPr lang="en-US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УПД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053F31C9-01E4-B14E-A0C9-BA96E179E6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/>
          <a:srcRect l="68504" t="27118" b="37235"/>
          <a:stretch/>
        </p:blipFill>
        <p:spPr bwMode="auto">
          <a:xfrm>
            <a:off x="9997843" y="1629936"/>
            <a:ext cx="2152390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CDAA3DF5-9750-5642-86A3-79E06C2FD51C}"/>
              </a:ext>
            </a:extLst>
          </p:cNvPr>
          <p:cNvCxnSpPr>
            <a:cxnSpLocks/>
          </p:cNvCxnSpPr>
          <p:nvPr/>
        </p:nvCxnSpPr>
        <p:spPr>
          <a:xfrm>
            <a:off x="675039" y="3429000"/>
            <a:ext cx="4890681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2381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64C6AEFD-0A81-9B43-B5EE-538901D2873F}"/>
              </a:ext>
            </a:extLst>
          </p:cNvPr>
          <p:cNvSpPr/>
          <p:nvPr/>
        </p:nvSpPr>
        <p:spPr>
          <a:xfrm>
            <a:off x="6150900" y="1"/>
            <a:ext cx="6096000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4F0EDF-9B97-E54F-9834-948502CF8019}"/>
              </a:ext>
            </a:extLst>
          </p:cNvPr>
          <p:cNvSpPr txBox="1"/>
          <p:nvPr/>
        </p:nvSpPr>
        <p:spPr>
          <a:xfrm>
            <a:off x="7039128" y="862103"/>
            <a:ext cx="415530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просы: доступ к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е Честный знак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34A489A9-5492-6249-A7A6-02CE32D73AB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40272" y="3421603"/>
            <a:ext cx="3308429" cy="279725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030A5F1-E057-B846-BFE7-D0336A6C48B3}"/>
              </a:ext>
            </a:extLst>
          </p:cNvPr>
          <p:cNvSpPr txBox="1"/>
          <p:nvPr/>
        </p:nvSpPr>
        <p:spPr>
          <a:xfrm>
            <a:off x="1528997" y="1120676"/>
            <a:ext cx="3890496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йти регистрацию 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УКЭП Руководителя организации</a:t>
            </a: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бавить УКЭП сотрудников организации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Личном Кабинете Участника в разделе Профиль. </a:t>
            </a: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лучае проблем обратиться в Службу Поддержки Системы</a:t>
            </a: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елефон </a:t>
            </a:r>
            <a:r>
              <a:rPr lang="fi-FI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800 222 1523</a:t>
            </a:r>
          </a:p>
          <a:p>
            <a:pPr fontAlgn="base"/>
            <a:r>
              <a:rPr lang="en-US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mail</a:t>
            </a: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  <a:r>
              <a:rPr lang="en-US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400" dirty="0" err="1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@crpt.ru</a:t>
            </a:r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632F9CFA-37B1-1643-BC1C-C0707EBDF0EB}"/>
              </a:ext>
            </a:extLst>
          </p:cNvPr>
          <p:cNvGrpSpPr/>
          <p:nvPr/>
        </p:nvGrpSpPr>
        <p:grpSpPr>
          <a:xfrm>
            <a:off x="744501" y="1120676"/>
            <a:ext cx="575920" cy="575920"/>
            <a:chOff x="6678629" y="1933571"/>
            <a:chExt cx="575920" cy="575920"/>
          </a:xfrm>
        </p:grpSpPr>
        <p:sp>
          <p:nvSpPr>
            <p:cNvPr id="28" name="Скругленный прямоугольник 27">
              <a:extLst>
                <a:ext uri="{FF2B5EF4-FFF2-40B4-BE49-F238E27FC236}">
                  <a16:creationId xmlns:a16="http://schemas.microsoft.com/office/drawing/2014/main" id="{9541861F-D744-2541-9EE3-9F5C6E3468F1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id="{9B64D500-73DD-254D-8D7C-6B711EBB4839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1</a:t>
              </a:r>
            </a:p>
          </p:txBody>
        </p:sp>
      </p:grp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33A9255D-2EDB-4B41-A6D6-00E3C0D50921}"/>
              </a:ext>
            </a:extLst>
          </p:cNvPr>
          <p:cNvGrpSpPr/>
          <p:nvPr/>
        </p:nvGrpSpPr>
        <p:grpSpPr>
          <a:xfrm>
            <a:off x="744501" y="2040987"/>
            <a:ext cx="575920" cy="575920"/>
            <a:chOff x="6678629" y="1933571"/>
            <a:chExt cx="575920" cy="575920"/>
          </a:xfrm>
        </p:grpSpPr>
        <p:sp>
          <p:nvSpPr>
            <p:cNvPr id="31" name="Скругленный прямоугольник 30">
              <a:extLst>
                <a:ext uri="{FF2B5EF4-FFF2-40B4-BE49-F238E27FC236}">
                  <a16:creationId xmlns:a16="http://schemas.microsoft.com/office/drawing/2014/main" id="{2C4B770E-C203-284F-A1B4-9BDDC216D272}"/>
                </a:ext>
              </a:extLst>
            </p:cNvPr>
            <p:cNvSpPr/>
            <p:nvPr/>
          </p:nvSpPr>
          <p:spPr>
            <a:xfrm>
              <a:off x="6678629" y="1933571"/>
              <a:ext cx="575920" cy="57592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id="{87334EDC-F30C-1644-9212-8E4431C2FE62}"/>
                </a:ext>
              </a:extLst>
            </p:cNvPr>
            <p:cNvSpPr/>
            <p:nvPr/>
          </p:nvSpPr>
          <p:spPr>
            <a:xfrm>
              <a:off x="6775203" y="2045043"/>
              <a:ext cx="382772" cy="32735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ru-RU" sz="1600" b="1" dirty="0">
                  <a:solidFill>
                    <a:srgbClr val="595959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2</a:t>
              </a:r>
            </a:p>
          </p:txBody>
        </p:sp>
      </p:grp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3A77BE83-9BC7-9740-9C78-BFD9853A8FDB}"/>
              </a:ext>
            </a:extLst>
          </p:cNvPr>
          <p:cNvCxnSpPr>
            <a:cxnSpLocks/>
          </p:cNvCxnSpPr>
          <p:nvPr/>
        </p:nvCxnSpPr>
        <p:spPr>
          <a:xfrm>
            <a:off x="744501" y="3491727"/>
            <a:ext cx="467499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635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79">
            <a:extLst>
              <a:ext uri="{FF2B5EF4-FFF2-40B4-BE49-F238E27FC236}">
                <a16:creationId xmlns:a16="http://schemas.microsoft.com/office/drawing/2014/main" id="{210AFBD9-8A55-8448-80DE-D8165E76F662}"/>
              </a:ext>
            </a:extLst>
          </p:cNvPr>
          <p:cNvSpPr/>
          <p:nvPr/>
        </p:nvSpPr>
        <p:spPr>
          <a:xfrm>
            <a:off x="900571" y="2922495"/>
            <a:ext cx="4391292" cy="189806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28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ализовать </a:t>
            </a:r>
            <a:r>
              <a:rPr lang="ru-RU" sz="28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 1 июля 2020 года</a:t>
            </a:r>
            <a:endParaRPr lang="ru-RU" sz="2800" b="1" dirty="0">
              <a:solidFill>
                <a:srgbClr val="FFFF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EC2E4CD-04BE-9341-A0D7-D8B1F1BAC49B}"/>
              </a:ext>
            </a:extLst>
          </p:cNvPr>
          <p:cNvSpPr/>
          <p:nvPr/>
        </p:nvSpPr>
        <p:spPr>
          <a:xfrm>
            <a:off x="6132513" y="0"/>
            <a:ext cx="6132513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86408DE-BB14-5F47-A1B2-DA4F2B136A18}"/>
              </a:ext>
            </a:extLst>
          </p:cNvPr>
          <p:cNvSpPr txBox="1"/>
          <p:nvPr/>
        </p:nvSpPr>
        <p:spPr>
          <a:xfrm>
            <a:off x="6973161" y="2727646"/>
            <a:ext cx="445121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просы: что делать с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маркированной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ей? 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79">
            <a:extLst>
              <a:ext uri="{FF2B5EF4-FFF2-40B4-BE49-F238E27FC236}">
                <a16:creationId xmlns:a16="http://schemas.microsoft.com/office/drawing/2014/main" id="{C816B781-1B09-6941-97FC-06D4011803DF}"/>
              </a:ext>
            </a:extLst>
          </p:cNvPr>
          <p:cNvSpPr/>
          <p:nvPr/>
        </p:nvSpPr>
        <p:spPr>
          <a:xfrm>
            <a:off x="900571" y="1747911"/>
            <a:ext cx="3914216" cy="2760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6600" b="1" dirty="0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</a:t>
            </a:r>
          </a:p>
        </p:txBody>
      </p:sp>
      <p:sp>
        <p:nvSpPr>
          <p:cNvPr id="16" name="Rectangle 179">
            <a:extLst>
              <a:ext uri="{FF2B5EF4-FFF2-40B4-BE49-F238E27FC236}">
                <a16:creationId xmlns:a16="http://schemas.microsoft.com/office/drawing/2014/main" id="{F809E731-BF4E-994A-84AF-38C4BDE7A9C1}"/>
              </a:ext>
            </a:extLst>
          </p:cNvPr>
          <p:cNvSpPr/>
          <p:nvPr/>
        </p:nvSpPr>
        <p:spPr>
          <a:xfrm rot="10800000">
            <a:off x="1141876" y="1903824"/>
            <a:ext cx="3914216" cy="2760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6600" b="1" dirty="0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A9AAC84-CF70-1D46-ADF4-2B2FED81E92C}"/>
              </a:ext>
            </a:extLst>
          </p:cNvPr>
          <p:cNvSpPr/>
          <p:nvPr/>
        </p:nvSpPr>
        <p:spPr>
          <a:xfrm>
            <a:off x="0" y="0"/>
            <a:ext cx="6132513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7" name="object 10"/>
          <p:cNvSpPr txBox="1"/>
          <p:nvPr/>
        </p:nvSpPr>
        <p:spPr>
          <a:xfrm>
            <a:off x="6711043" y="1386895"/>
            <a:ext cx="4640309" cy="3612527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ru-RU" b="1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оответствии с ФЗ 54 при розничной реализации табачной продукции необходимо использовать кассовую технику</a:t>
            </a:r>
            <a:endParaRPr lang="en-US" b="1" dirty="0">
              <a:solidFill>
                <a:srgbClr val="54575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ru-RU" b="1" dirty="0">
              <a:solidFill>
                <a:srgbClr val="54575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ru-RU" dirty="0">
              <a:solidFill>
                <a:srgbClr val="54575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ru-RU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астник оборота самостоятельно загружает  архив </a:t>
            </a:r>
            <a:r>
              <a:rPr lang="ru-RU" b="1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рез личный кабинет Честный ЗНАК</a:t>
            </a:r>
            <a:endParaRPr lang="en-US" b="1" dirty="0">
              <a:solidFill>
                <a:srgbClr val="54575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ru-RU" b="1" dirty="0">
              <a:solidFill>
                <a:srgbClr val="54575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endParaRPr lang="ru-RU" b="1" dirty="0">
              <a:solidFill>
                <a:srgbClr val="54575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 реже 1 раза в 30 календарных дней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C2AE36B-B86B-DB4D-BBDF-44F6A23B1B29}"/>
              </a:ext>
            </a:extLst>
          </p:cNvPr>
          <p:cNvSpPr txBox="1"/>
          <p:nvPr/>
        </p:nvSpPr>
        <p:spPr>
          <a:xfrm>
            <a:off x="840648" y="2727646"/>
            <a:ext cx="445121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просы: передача сведений в ГИС МТ без ОФД о продажах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79">
            <a:extLst>
              <a:ext uri="{FF2B5EF4-FFF2-40B4-BE49-F238E27FC236}">
                <a16:creationId xmlns:a16="http://schemas.microsoft.com/office/drawing/2014/main" id="{88F1F8DA-BFFA-494F-8587-D94827180C7F}"/>
              </a:ext>
            </a:extLst>
          </p:cNvPr>
          <p:cNvSpPr/>
          <p:nvPr/>
        </p:nvSpPr>
        <p:spPr>
          <a:xfrm>
            <a:off x="6711043" y="152193"/>
            <a:ext cx="3914216" cy="2760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6600" b="1" dirty="0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</a:t>
            </a:r>
          </a:p>
        </p:txBody>
      </p:sp>
      <p:sp>
        <p:nvSpPr>
          <p:cNvPr id="16" name="Rectangle 179">
            <a:extLst>
              <a:ext uri="{FF2B5EF4-FFF2-40B4-BE49-F238E27FC236}">
                <a16:creationId xmlns:a16="http://schemas.microsoft.com/office/drawing/2014/main" id="{4F0C6B3D-434E-7842-B6FD-B11022970985}"/>
              </a:ext>
            </a:extLst>
          </p:cNvPr>
          <p:cNvSpPr/>
          <p:nvPr/>
        </p:nvSpPr>
        <p:spPr>
          <a:xfrm rot="10800000">
            <a:off x="7074089" y="3193158"/>
            <a:ext cx="3914216" cy="2760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6600" b="1" dirty="0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79">
            <a:extLst>
              <a:ext uri="{FF2B5EF4-FFF2-40B4-BE49-F238E27FC236}">
                <a16:creationId xmlns:a16="http://schemas.microsoft.com/office/drawing/2014/main" id="{3A842CB1-F28A-43D5-9605-E5837B2FA528}"/>
              </a:ext>
            </a:extLst>
          </p:cNvPr>
          <p:cNvSpPr/>
          <p:nvPr/>
        </p:nvSpPr>
        <p:spPr>
          <a:xfrm>
            <a:off x="1052231" y="2225547"/>
            <a:ext cx="3914216" cy="2760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ведения о движении продукции внутри одной организации </a:t>
            </a:r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е передаются </a:t>
            </a:r>
            <a:r>
              <a:rPr lang="ru-RU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истему Честный ЗНАК</a:t>
            </a:r>
          </a:p>
          <a:p>
            <a:endParaRPr lang="ru-RU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мер: Передача продукции от СКЛАДА в Торговую Точку без продажи.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E10BF397-B4B2-2144-A7D6-3665968C0F49}"/>
              </a:ext>
            </a:extLst>
          </p:cNvPr>
          <p:cNvSpPr/>
          <p:nvPr/>
        </p:nvSpPr>
        <p:spPr>
          <a:xfrm>
            <a:off x="6059487" y="0"/>
            <a:ext cx="6132513" cy="6858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1705B24-2E93-084B-A625-0B0C27B2A6C5}"/>
              </a:ext>
            </a:extLst>
          </p:cNvPr>
          <p:cNvSpPr txBox="1"/>
          <p:nvPr/>
        </p:nvSpPr>
        <p:spPr>
          <a:xfrm>
            <a:off x="6900135" y="2554580"/>
            <a:ext cx="445121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просы: движение маркированной продукции внутри организации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79">
            <a:extLst>
              <a:ext uri="{FF2B5EF4-FFF2-40B4-BE49-F238E27FC236}">
                <a16:creationId xmlns:a16="http://schemas.microsoft.com/office/drawing/2014/main" id="{B013F4BB-3452-4C45-B104-3EC2B72E3414}"/>
              </a:ext>
            </a:extLst>
          </p:cNvPr>
          <p:cNvSpPr/>
          <p:nvPr/>
        </p:nvSpPr>
        <p:spPr>
          <a:xfrm>
            <a:off x="1052231" y="1174170"/>
            <a:ext cx="3914216" cy="2760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6600" b="1" dirty="0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</a:t>
            </a:r>
          </a:p>
        </p:txBody>
      </p:sp>
      <p:sp>
        <p:nvSpPr>
          <p:cNvPr id="16" name="Rectangle 179">
            <a:extLst>
              <a:ext uri="{FF2B5EF4-FFF2-40B4-BE49-F238E27FC236}">
                <a16:creationId xmlns:a16="http://schemas.microsoft.com/office/drawing/2014/main" id="{9E1F430D-3C0E-A549-A9AB-4ABF54C38F6A}"/>
              </a:ext>
            </a:extLst>
          </p:cNvPr>
          <p:cNvSpPr/>
          <p:nvPr/>
        </p:nvSpPr>
        <p:spPr>
          <a:xfrm rot="10800000">
            <a:off x="1052231" y="2680241"/>
            <a:ext cx="3914216" cy="2760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6600" b="1" dirty="0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</a:t>
            </a:r>
          </a:p>
        </p:txBody>
      </p:sp>
    </p:spTree>
    <p:extLst>
      <p:ext uri="{BB962C8B-B14F-4D97-AF65-F5344CB8AC3E}">
        <p14:creationId xmlns:p14="http://schemas.microsoft.com/office/powerpoint/2010/main" val="4072462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>
            <a:extLst>
              <a:ext uri="{FF2B5EF4-FFF2-40B4-BE49-F238E27FC236}">
                <a16:creationId xmlns:a16="http://schemas.microsoft.com/office/drawing/2014/main" id="{8F729C95-B5D2-704A-BC6C-633784DC0B54}"/>
              </a:ext>
            </a:extLst>
          </p:cNvPr>
          <p:cNvSpPr/>
          <p:nvPr/>
        </p:nvSpPr>
        <p:spPr>
          <a:xfrm>
            <a:off x="675040" y="699679"/>
            <a:ext cx="5134089" cy="170286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3CD80D-BF5F-2445-98A1-4421031A9051}"/>
              </a:ext>
            </a:extLst>
          </p:cNvPr>
          <p:cNvSpPr txBox="1"/>
          <p:nvPr/>
        </p:nvSpPr>
        <p:spPr>
          <a:xfrm>
            <a:off x="973440" y="862103"/>
            <a:ext cx="105435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просы: комиссионная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рговля табачной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ей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8EB43127-3F7D-EA40-A74A-B69CB85700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/>
          <a:srcRect l="23302" t="59446"/>
          <a:stretch/>
        </p:blipFill>
        <p:spPr bwMode="auto">
          <a:xfrm>
            <a:off x="396438" y="4782370"/>
            <a:ext cx="4272724" cy="145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object 10"/>
          <p:cNvSpPr txBox="1"/>
          <p:nvPr/>
        </p:nvSpPr>
        <p:spPr>
          <a:xfrm>
            <a:off x="6615953" y="1515686"/>
            <a:ext cx="4786338" cy="410497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285750" indent="-285750" fontAlgn="base">
              <a:buFont typeface="Wingdings" pitchFamily="2" charset="2"/>
              <a:buChar char="§"/>
            </a:pP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01 июля 2020 года в систему Честный знак необходимо сообщать о передаче маркированной продукции между участниками оборота в форме УПД. </a:t>
            </a: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/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Wingdings" pitchFamily="2" charset="2"/>
              <a:buChar char="§"/>
            </a:pP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лучае если Комиссионер осуществляет реализацию табачной продукции от собственного юридического лица, то в систему Честный знак необходимо передавать информацию о обороте маркированной табачной продукции (передача товара от Комитента к Комиссионеру). Передача информации осуществляется в форме УПД(статус ДОП) – передача товаров между участниками оборота. </a:t>
            </a:r>
          </a:p>
          <a:p>
            <a:pPr marL="285750" indent="-285750" fontAlgn="base">
              <a:buFont typeface="Wingdings" pitchFamily="2" charset="2"/>
              <a:buChar char="§"/>
            </a:pPr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Wingdings" pitchFamily="2" charset="2"/>
              <a:buChar char="§"/>
            </a:pPr>
            <a:endParaRPr lang="ru-RU" sz="14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 fontAlgn="base">
              <a:buFont typeface="Wingdings" pitchFamily="2" charset="2"/>
              <a:buChar char="§"/>
            </a:pPr>
            <a:r>
              <a:rPr lang="ru-RU" sz="14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лучае если Комиссионер осуществляет реализацию от юридического лица Комитента, то в данном случае информацию о передаче товаров регистрировать в системе Честный Знак не требуется.. </a:t>
            </a: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503785A9-2914-479F-9E8D-243776ED42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/>
          <a:srcRect b="39137"/>
          <a:stretch/>
        </p:blipFill>
        <p:spPr bwMode="auto">
          <a:xfrm>
            <a:off x="675040" y="2786162"/>
            <a:ext cx="5570863" cy="2177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79">
            <a:extLst>
              <a:ext uri="{FF2B5EF4-FFF2-40B4-BE49-F238E27FC236}">
                <a16:creationId xmlns:a16="http://schemas.microsoft.com/office/drawing/2014/main" id="{C84D7C65-5628-0445-93C7-8772443B7A01}"/>
              </a:ext>
            </a:extLst>
          </p:cNvPr>
          <p:cNvSpPr/>
          <p:nvPr/>
        </p:nvSpPr>
        <p:spPr>
          <a:xfrm>
            <a:off x="6797282" y="315468"/>
            <a:ext cx="3914216" cy="2760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6600" b="1" dirty="0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</a:t>
            </a:r>
          </a:p>
        </p:txBody>
      </p:sp>
      <p:sp>
        <p:nvSpPr>
          <p:cNvPr id="13" name="Rectangle 179">
            <a:extLst>
              <a:ext uri="{FF2B5EF4-FFF2-40B4-BE49-F238E27FC236}">
                <a16:creationId xmlns:a16="http://schemas.microsoft.com/office/drawing/2014/main" id="{4FA830A7-AB02-444B-A63C-7ACE30A40356}"/>
              </a:ext>
            </a:extLst>
          </p:cNvPr>
          <p:cNvSpPr/>
          <p:nvPr/>
        </p:nvSpPr>
        <p:spPr>
          <a:xfrm rot="10800000">
            <a:off x="7586176" y="3898652"/>
            <a:ext cx="3914216" cy="276082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6600" b="1" dirty="0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«</a:t>
            </a:r>
          </a:p>
        </p:txBody>
      </p:sp>
    </p:spTree>
    <p:extLst>
      <p:ext uri="{BB962C8B-B14F-4D97-AF65-F5344CB8AC3E}">
        <p14:creationId xmlns:p14="http://schemas.microsoft.com/office/powerpoint/2010/main" val="205363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373F8236-0C70-C940-A070-DC3BEDC66C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6473" y="442912"/>
            <a:ext cx="9559073" cy="6415087"/>
          </a:xfrm>
          <a:prstGeom prst="rect">
            <a:avLst/>
          </a:prstGeom>
        </p:spPr>
      </p:pic>
      <p:sp>
        <p:nvSpPr>
          <p:cNvPr id="4" name="Скругленный прямоугольник 3">
            <a:extLst>
              <a:ext uri="{FF2B5EF4-FFF2-40B4-BE49-F238E27FC236}">
                <a16:creationId xmlns:a16="http://schemas.microsoft.com/office/drawing/2014/main" id="{019D9344-3982-9840-9174-3F4AC97C5990}"/>
              </a:ext>
            </a:extLst>
          </p:cNvPr>
          <p:cNvSpPr/>
          <p:nvPr/>
        </p:nvSpPr>
        <p:spPr>
          <a:xfrm>
            <a:off x="8504599" y="699679"/>
            <a:ext cx="2440190" cy="90052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CF8A84D-16E5-7F4B-8E2D-E304F126F743}"/>
              </a:ext>
            </a:extLst>
          </p:cNvPr>
          <p:cNvSpPr txBox="1"/>
          <p:nvPr/>
        </p:nvSpPr>
        <p:spPr>
          <a:xfrm>
            <a:off x="8802999" y="862103"/>
            <a:ext cx="24401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опросы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4987FF2-92D9-DB42-8C09-A504C10613C6}"/>
              </a:ext>
            </a:extLst>
          </p:cNvPr>
          <p:cNvSpPr/>
          <p:nvPr/>
        </p:nvSpPr>
        <p:spPr>
          <a:xfrm>
            <a:off x="1251409" y="1514472"/>
            <a:ext cx="1587863" cy="2414589"/>
          </a:xfrm>
          <a:prstGeom prst="rect">
            <a:avLst/>
          </a:prstGeom>
          <a:noFill/>
          <a:ln w="25400">
            <a:solidFill>
              <a:srgbClr val="F6F42E"/>
            </a:solidFill>
          </a:ln>
          <a:effectLst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595959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790E66A-F582-2140-9030-C5AE07240BF9}"/>
              </a:ext>
            </a:extLst>
          </p:cNvPr>
          <p:cNvSpPr/>
          <p:nvPr/>
        </p:nvSpPr>
        <p:spPr>
          <a:xfrm flipV="1">
            <a:off x="3257550" y="785500"/>
            <a:ext cx="3099305" cy="471800"/>
          </a:xfrm>
          <a:prstGeom prst="rect">
            <a:avLst/>
          </a:prstGeom>
          <a:noFill/>
          <a:ln w="25400">
            <a:solidFill>
              <a:srgbClr val="F6F42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7369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0DA157E-3865-0A4C-9D6C-6B8A3E58F820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757" r="24839"/>
          <a:stretch/>
        </p:blipFill>
        <p:spPr>
          <a:xfrm>
            <a:off x="3047999" y="-1"/>
            <a:ext cx="9144001" cy="68580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1F73F6B-46B6-EF4B-B677-B2FA21DE481E}"/>
              </a:ext>
            </a:extLst>
          </p:cNvPr>
          <p:cNvSpPr/>
          <p:nvPr/>
        </p:nvSpPr>
        <p:spPr>
          <a:xfrm>
            <a:off x="0" y="-1"/>
            <a:ext cx="6096000" cy="685800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>
              <a:highlight>
                <a:srgbClr val="595959"/>
              </a:highlight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5247CEB9-4D53-7F4A-BFD7-67533D744F86}"/>
              </a:ext>
            </a:extLst>
          </p:cNvPr>
          <p:cNvSpPr txBox="1">
            <a:spLocks/>
          </p:cNvSpPr>
          <p:nvPr/>
        </p:nvSpPr>
        <p:spPr>
          <a:xfrm>
            <a:off x="734677" y="1971788"/>
            <a:ext cx="6297890" cy="30746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39852">
              <a:lnSpc>
                <a:spcPct val="100000"/>
              </a:lnSpc>
            </a:pPr>
            <a:r>
              <a:rPr lang="ru-RU" sz="24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ПАСИБО ЗА ВНИМАНИЕ!</a:t>
            </a:r>
          </a:p>
          <a:p>
            <a:pPr defTabSz="839852">
              <a:lnSpc>
                <a:spcPct val="100000"/>
              </a:lnSpc>
            </a:pPr>
            <a:endParaRPr lang="ru-RU" sz="24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24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600" dirty="0" err="1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6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 err="1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rpt.ru</a:t>
            </a:r>
            <a:endParaRPr lang="ru-RU" sz="16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1600" dirty="0" err="1">
                <a:solidFill>
                  <a:srgbClr val="FFFF00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info@crpt.ru</a:t>
            </a:r>
            <a:endParaRPr lang="ru-RU" sz="1600" dirty="0">
              <a:solidFill>
                <a:srgbClr val="FFFF00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fontAlgn="base">
              <a:lnSpc>
                <a:spcPct val="150000"/>
              </a:lnSpc>
            </a:pPr>
            <a:r>
              <a:rPr lang="ru-RU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8 800 222 1523 </a:t>
            </a:r>
            <a:r>
              <a:rPr lang="ru-RU" sz="1600" b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для звонков из России)</a:t>
            </a:r>
          </a:p>
          <a:p>
            <a:pPr fontAlgn="base">
              <a:lnSpc>
                <a:spcPct val="150000"/>
              </a:lnSpc>
            </a:pPr>
            <a:r>
              <a:rPr lang="ru-RU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+7 499 350 85 59</a:t>
            </a:r>
            <a:r>
              <a:rPr lang="ru-RU" sz="1600" b="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 (для звонков из других стран)</a:t>
            </a:r>
          </a:p>
          <a:p>
            <a:pPr>
              <a:lnSpc>
                <a:spcPct val="150000"/>
              </a:lnSpc>
            </a:pPr>
            <a:endParaRPr lang="ru-RU" sz="16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16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2400" dirty="0">
              <a:solidFill>
                <a:srgbClr val="F6F42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endParaRPr lang="ru-RU" sz="2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defTabSz="839852">
              <a:lnSpc>
                <a:spcPct val="100000"/>
              </a:lnSpc>
            </a:pPr>
            <a:br>
              <a:rPr lang="ru-RU" sz="2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endParaRPr lang="en-US" sz="2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FA69B658-D35D-FA47-B558-AA3789C1B065}"/>
              </a:ext>
            </a:extLst>
          </p:cNvPr>
          <p:cNvCxnSpPr>
            <a:cxnSpLocks/>
          </p:cNvCxnSpPr>
          <p:nvPr/>
        </p:nvCxnSpPr>
        <p:spPr>
          <a:xfrm flipH="1">
            <a:off x="836567" y="1203330"/>
            <a:ext cx="4067942" cy="0"/>
          </a:xfrm>
          <a:prstGeom prst="line">
            <a:avLst/>
          </a:prstGeom>
          <a:ln w="41275">
            <a:solidFill>
              <a:srgbClr val="EAE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3190" y="5015463"/>
            <a:ext cx="3920996" cy="733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79294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>
            <a:extLst>
              <a:ext uri="{FF2B5EF4-FFF2-40B4-BE49-F238E27FC236}">
                <a16:creationId xmlns:a16="http://schemas.microsoft.com/office/drawing/2014/main" id="{8A652215-D77E-8145-B07D-68914A82165F}"/>
              </a:ext>
            </a:extLst>
          </p:cNvPr>
          <p:cNvSpPr/>
          <p:nvPr/>
        </p:nvSpPr>
        <p:spPr>
          <a:xfrm>
            <a:off x="675039" y="699679"/>
            <a:ext cx="9023597" cy="84359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DF7B024-2930-DE49-B0AF-6F242C1102BE}"/>
              </a:ext>
            </a:extLst>
          </p:cNvPr>
          <p:cNvSpPr txBox="1"/>
          <p:nvPr/>
        </p:nvSpPr>
        <p:spPr>
          <a:xfrm>
            <a:off x="888228" y="862103"/>
            <a:ext cx="86324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чная продукция, подлежащая маркировке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98FDC97-FF87-D74B-A39B-FD1FA720CFD3}"/>
              </a:ext>
            </a:extLst>
          </p:cNvPr>
          <p:cNvSpPr txBox="1"/>
          <p:nvPr/>
        </p:nvSpPr>
        <p:spPr>
          <a:xfrm>
            <a:off x="10408534" y="2032499"/>
            <a:ext cx="12731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1 июля </a:t>
            </a:r>
            <a:endParaRPr lang="en-US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19</a:t>
            </a:r>
            <a:endParaRPr lang="ru-PT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CCE0BE4-ED9A-3441-B382-A1B8FA64CEE6}"/>
              </a:ext>
            </a:extLst>
          </p:cNvPr>
          <p:cNvSpPr txBox="1"/>
          <p:nvPr/>
        </p:nvSpPr>
        <p:spPr>
          <a:xfrm>
            <a:off x="604699" y="1821165"/>
            <a:ext cx="28680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именование продукции</a:t>
            </a:r>
            <a:endParaRPr lang="ru-PT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6AA41C1-AADE-9647-AC1C-8F18DA322506}"/>
              </a:ext>
            </a:extLst>
          </p:cNvPr>
          <p:cNvSpPr txBox="1"/>
          <p:nvPr/>
        </p:nvSpPr>
        <p:spPr>
          <a:xfrm>
            <a:off x="5438163" y="1824824"/>
            <a:ext cx="134844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ОКПД2</a:t>
            </a:r>
            <a:endParaRPr lang="ru-PT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51E5F07-F6EA-B94E-9149-719F0568AF6A}"/>
              </a:ext>
            </a:extLst>
          </p:cNvPr>
          <p:cNvSpPr txBox="1"/>
          <p:nvPr/>
        </p:nvSpPr>
        <p:spPr>
          <a:xfrm>
            <a:off x="7794157" y="1826162"/>
            <a:ext cx="19431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ТН ВЭД ЕАЭС</a:t>
            </a:r>
            <a:endParaRPr lang="ru-PT" sz="16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C1CBEF6-B37E-B142-8989-9A4256D6BD2A}"/>
              </a:ext>
            </a:extLst>
          </p:cNvPr>
          <p:cNvSpPr txBox="1"/>
          <p:nvPr/>
        </p:nvSpPr>
        <p:spPr>
          <a:xfrm>
            <a:off x="613223" y="2288296"/>
            <a:ext cx="24705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гареты, сигареты без фильтра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D0C2077-6723-5C47-B245-83A2385B27E8}"/>
              </a:ext>
            </a:extLst>
          </p:cNvPr>
          <p:cNvSpPr txBox="1"/>
          <p:nvPr/>
        </p:nvSpPr>
        <p:spPr>
          <a:xfrm>
            <a:off x="5438163" y="2292815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1.13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89FCA7-5DE8-FD4F-897C-2BB92FEDFAA0}"/>
              </a:ext>
            </a:extLst>
          </p:cNvPr>
          <p:cNvSpPr txBox="1"/>
          <p:nvPr/>
        </p:nvSpPr>
        <p:spPr>
          <a:xfrm>
            <a:off x="7821598" y="2297155"/>
            <a:ext cx="7264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2 2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8D86166-75B8-C849-92CB-7CCE7CC39F49}"/>
              </a:ext>
            </a:extLst>
          </p:cNvPr>
          <p:cNvSpPr txBox="1"/>
          <p:nvPr/>
        </p:nvSpPr>
        <p:spPr>
          <a:xfrm>
            <a:off x="613223" y="2651255"/>
            <a:ext cx="9092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апиросы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C679C69-6943-634A-A379-953D33A205B3}"/>
              </a:ext>
            </a:extLst>
          </p:cNvPr>
          <p:cNvSpPr txBox="1"/>
          <p:nvPr/>
        </p:nvSpPr>
        <p:spPr>
          <a:xfrm>
            <a:off x="5438163" y="2655966"/>
            <a:ext cx="95250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1.14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DC3C33C-45EC-5C4D-BF8A-F62CF060127A}"/>
              </a:ext>
            </a:extLst>
          </p:cNvPr>
          <p:cNvSpPr txBox="1"/>
          <p:nvPr/>
        </p:nvSpPr>
        <p:spPr>
          <a:xfrm>
            <a:off x="7821598" y="2660306"/>
            <a:ext cx="7264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2 2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ACB88E0-7D1C-0F49-8BEF-A667064B262E}"/>
              </a:ext>
            </a:extLst>
          </p:cNvPr>
          <p:cNvSpPr txBox="1"/>
          <p:nvPr/>
        </p:nvSpPr>
        <p:spPr>
          <a:xfrm>
            <a:off x="10420662" y="4313967"/>
            <a:ext cx="127310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</a:t>
            </a:r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1 июля </a:t>
            </a:r>
            <a:endParaRPr lang="en-US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020</a:t>
            </a:r>
            <a:endParaRPr lang="ru-PT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D1B3F737-E206-3A45-AF3F-9F40B9182638}"/>
              </a:ext>
            </a:extLst>
          </p:cNvPr>
          <p:cNvSpPr txBox="1"/>
          <p:nvPr/>
        </p:nvSpPr>
        <p:spPr>
          <a:xfrm>
            <a:off x="613223" y="3011089"/>
            <a:ext cx="38555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гареты, сигары с обрезанными концами (</a:t>
            </a:r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руты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FF3091E-3A60-2F41-8AEB-5D9C6C64384F}"/>
              </a:ext>
            </a:extLst>
          </p:cNvPr>
          <p:cNvSpPr txBox="1"/>
          <p:nvPr/>
        </p:nvSpPr>
        <p:spPr>
          <a:xfrm>
            <a:off x="5438163" y="3015608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1.11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8FEE721B-79E3-DA49-9EB8-CBA73C710404}"/>
              </a:ext>
            </a:extLst>
          </p:cNvPr>
          <p:cNvSpPr txBox="1"/>
          <p:nvPr/>
        </p:nvSpPr>
        <p:spPr>
          <a:xfrm>
            <a:off x="7821598" y="3019948"/>
            <a:ext cx="1143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2 10 000 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DD6A0B2-4355-D84E-8B2F-940F42B46144}"/>
              </a:ext>
            </a:extLst>
          </p:cNvPr>
          <p:cNvSpPr txBox="1"/>
          <p:nvPr/>
        </p:nvSpPr>
        <p:spPr>
          <a:xfrm>
            <a:off x="613223" y="3374048"/>
            <a:ext cx="21194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гариллы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(сигары тонкие)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11C66F6-FD9F-234B-99B5-DDBEA8510A7C}"/>
              </a:ext>
            </a:extLst>
          </p:cNvPr>
          <p:cNvSpPr txBox="1"/>
          <p:nvPr/>
        </p:nvSpPr>
        <p:spPr>
          <a:xfrm>
            <a:off x="5438163" y="3378759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1.12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69A4F3B-AC84-C443-8D07-1025D7C1C010}"/>
              </a:ext>
            </a:extLst>
          </p:cNvPr>
          <p:cNvSpPr txBox="1"/>
          <p:nvPr/>
        </p:nvSpPr>
        <p:spPr>
          <a:xfrm>
            <a:off x="7821598" y="3383099"/>
            <a:ext cx="1143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2 10 000 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248C48C-0427-5242-9F6D-AA0BA93E5535}"/>
              </a:ext>
            </a:extLst>
          </p:cNvPr>
          <p:cNvSpPr txBox="1"/>
          <p:nvPr/>
        </p:nvSpPr>
        <p:spPr>
          <a:xfrm>
            <a:off x="623584" y="3730912"/>
            <a:ext cx="5373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иди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673D811-0364-2E49-A495-E55721312591}"/>
              </a:ext>
            </a:extLst>
          </p:cNvPr>
          <p:cNvSpPr txBox="1"/>
          <p:nvPr/>
        </p:nvSpPr>
        <p:spPr>
          <a:xfrm>
            <a:off x="5448524" y="3735431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1.15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45FB8E3-889B-804F-9096-797912EBD14B}"/>
              </a:ext>
            </a:extLst>
          </p:cNvPr>
          <p:cNvSpPr txBox="1"/>
          <p:nvPr/>
        </p:nvSpPr>
        <p:spPr>
          <a:xfrm>
            <a:off x="7831959" y="3739771"/>
            <a:ext cx="1143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2 20 900 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81007F8E-C859-F044-AFBF-8A5413C91F53}"/>
              </a:ext>
            </a:extLst>
          </p:cNvPr>
          <p:cNvSpPr txBox="1"/>
          <p:nvPr/>
        </p:nvSpPr>
        <p:spPr>
          <a:xfrm>
            <a:off x="623584" y="4093871"/>
            <a:ext cx="66396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ретек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00A37AE-B65D-D34D-B54E-A5CF8173B0BB}"/>
              </a:ext>
            </a:extLst>
          </p:cNvPr>
          <p:cNvSpPr txBox="1"/>
          <p:nvPr/>
        </p:nvSpPr>
        <p:spPr>
          <a:xfrm>
            <a:off x="5448524" y="4098582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1.16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3FC8DDF9-2633-B445-BEC3-F630294229DE}"/>
              </a:ext>
            </a:extLst>
          </p:cNvPr>
          <p:cNvSpPr txBox="1"/>
          <p:nvPr/>
        </p:nvSpPr>
        <p:spPr>
          <a:xfrm>
            <a:off x="7831959" y="4102922"/>
            <a:ext cx="1143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2 20 100 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8CE6869-EB90-8C46-B31E-439E32FE1AC4}"/>
              </a:ext>
            </a:extLst>
          </p:cNvPr>
          <p:cNvSpPr txBox="1"/>
          <p:nvPr/>
        </p:nvSpPr>
        <p:spPr>
          <a:xfrm>
            <a:off x="613223" y="4464332"/>
            <a:ext cx="15488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к курительный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29431546-43CC-7649-8FAC-0AA15815375F}"/>
              </a:ext>
            </a:extLst>
          </p:cNvPr>
          <p:cNvSpPr txBox="1"/>
          <p:nvPr/>
        </p:nvSpPr>
        <p:spPr>
          <a:xfrm>
            <a:off x="5438163" y="4468851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9.11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C969B06-22C8-844C-98F3-84426C71A663}"/>
              </a:ext>
            </a:extLst>
          </p:cNvPr>
          <p:cNvSpPr txBox="1"/>
          <p:nvPr/>
        </p:nvSpPr>
        <p:spPr>
          <a:xfrm>
            <a:off x="7821598" y="4473191"/>
            <a:ext cx="1143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3 19 000 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56961458-4CB4-C744-9078-90C89C2DDB2E}"/>
              </a:ext>
            </a:extLst>
          </p:cNvPr>
          <p:cNvSpPr txBox="1"/>
          <p:nvPr/>
        </p:nvSpPr>
        <p:spPr>
          <a:xfrm>
            <a:off x="613223" y="4827291"/>
            <a:ext cx="14093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рубочный табак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502B41E0-25DD-4F4A-9AD7-2E614864490B}"/>
              </a:ext>
            </a:extLst>
          </p:cNvPr>
          <p:cNvSpPr txBox="1"/>
          <p:nvPr/>
        </p:nvSpPr>
        <p:spPr>
          <a:xfrm>
            <a:off x="5438163" y="4832002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9.12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787FF241-0702-1747-A541-201BD83B6C12}"/>
              </a:ext>
            </a:extLst>
          </p:cNvPr>
          <p:cNvSpPr txBox="1"/>
          <p:nvPr/>
        </p:nvSpPr>
        <p:spPr>
          <a:xfrm>
            <a:off x="7821598" y="4836342"/>
            <a:ext cx="1143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3 19 000 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E00BA54-4621-8640-B73F-D8CDEB9052DB}"/>
              </a:ext>
            </a:extLst>
          </p:cNvPr>
          <p:cNvSpPr txBox="1"/>
          <p:nvPr/>
        </p:nvSpPr>
        <p:spPr>
          <a:xfrm>
            <a:off x="623584" y="5184155"/>
            <a:ext cx="14734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к для кальяна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8AF30BCD-3F25-2142-8D0B-C6258A8EF616}"/>
              </a:ext>
            </a:extLst>
          </p:cNvPr>
          <p:cNvSpPr txBox="1"/>
          <p:nvPr/>
        </p:nvSpPr>
        <p:spPr>
          <a:xfrm>
            <a:off x="5448524" y="5188674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9.13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7B7EFCDE-4A22-9448-A816-7536CDDE0397}"/>
              </a:ext>
            </a:extLst>
          </p:cNvPr>
          <p:cNvSpPr txBox="1"/>
          <p:nvPr/>
        </p:nvSpPr>
        <p:spPr>
          <a:xfrm>
            <a:off x="7831959" y="5193014"/>
            <a:ext cx="1143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3 11 000 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3053BFF4-CC65-2C4A-9943-F0DCCC9A3D27}"/>
              </a:ext>
            </a:extLst>
          </p:cNvPr>
          <p:cNvSpPr txBox="1"/>
          <p:nvPr/>
        </p:nvSpPr>
        <p:spPr>
          <a:xfrm>
            <a:off x="623584" y="5547114"/>
            <a:ext cx="15744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к жевательный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C30069A-483F-5447-9E04-5C5F741BB3C5}"/>
              </a:ext>
            </a:extLst>
          </p:cNvPr>
          <p:cNvSpPr txBox="1"/>
          <p:nvPr/>
        </p:nvSpPr>
        <p:spPr>
          <a:xfrm>
            <a:off x="5448524" y="5551825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9.14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6F70E935-BD97-0243-9FA9-6ED7B6C387D8}"/>
              </a:ext>
            </a:extLst>
          </p:cNvPr>
          <p:cNvSpPr txBox="1"/>
          <p:nvPr/>
        </p:nvSpPr>
        <p:spPr>
          <a:xfrm>
            <a:off x="7831959" y="5556165"/>
            <a:ext cx="1143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3 99 100 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00A3D405-BB6D-3645-B401-246D551A7601}"/>
              </a:ext>
            </a:extLst>
          </p:cNvPr>
          <p:cNvCxnSpPr>
            <a:cxnSpLocks/>
          </p:cNvCxnSpPr>
          <p:nvPr/>
        </p:nvCxnSpPr>
        <p:spPr>
          <a:xfrm>
            <a:off x="716000" y="2238197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79716AC-5482-C04A-9C36-9F4BAD3ED906}"/>
              </a:ext>
            </a:extLst>
          </p:cNvPr>
          <p:cNvCxnSpPr>
            <a:cxnSpLocks/>
          </p:cNvCxnSpPr>
          <p:nvPr/>
        </p:nvCxnSpPr>
        <p:spPr>
          <a:xfrm>
            <a:off x="716000" y="2615450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6EAA4905-AA86-F741-9F02-D0338A3B87DE}"/>
              </a:ext>
            </a:extLst>
          </p:cNvPr>
          <p:cNvCxnSpPr>
            <a:cxnSpLocks/>
          </p:cNvCxnSpPr>
          <p:nvPr/>
        </p:nvCxnSpPr>
        <p:spPr>
          <a:xfrm>
            <a:off x="708609" y="2964059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D95132C2-01FD-E542-876E-715113952817}"/>
              </a:ext>
            </a:extLst>
          </p:cNvPr>
          <p:cNvCxnSpPr>
            <a:cxnSpLocks/>
          </p:cNvCxnSpPr>
          <p:nvPr/>
        </p:nvCxnSpPr>
        <p:spPr>
          <a:xfrm>
            <a:off x="716000" y="3338243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D42158D8-6E03-AC48-A248-4555F11A64BE}"/>
              </a:ext>
            </a:extLst>
          </p:cNvPr>
          <p:cNvCxnSpPr>
            <a:cxnSpLocks/>
          </p:cNvCxnSpPr>
          <p:nvPr/>
        </p:nvCxnSpPr>
        <p:spPr>
          <a:xfrm>
            <a:off x="708609" y="3686852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B9B3E1BA-B97D-5E4E-AFFA-54BBD6374155}"/>
              </a:ext>
            </a:extLst>
          </p:cNvPr>
          <p:cNvCxnSpPr>
            <a:cxnSpLocks/>
          </p:cNvCxnSpPr>
          <p:nvPr/>
        </p:nvCxnSpPr>
        <p:spPr>
          <a:xfrm>
            <a:off x="724985" y="4058066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322289BA-CB26-5D45-87A8-758E24147533}"/>
              </a:ext>
            </a:extLst>
          </p:cNvPr>
          <p:cNvCxnSpPr>
            <a:cxnSpLocks/>
          </p:cNvCxnSpPr>
          <p:nvPr/>
        </p:nvCxnSpPr>
        <p:spPr>
          <a:xfrm>
            <a:off x="716000" y="4414233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31262855-4A04-694D-9389-649D3DB81448}"/>
              </a:ext>
            </a:extLst>
          </p:cNvPr>
          <p:cNvCxnSpPr>
            <a:cxnSpLocks/>
          </p:cNvCxnSpPr>
          <p:nvPr/>
        </p:nvCxnSpPr>
        <p:spPr>
          <a:xfrm>
            <a:off x="716000" y="4791486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4C486B5A-AC21-9646-8759-B8BB31F4F7B2}"/>
              </a:ext>
            </a:extLst>
          </p:cNvPr>
          <p:cNvCxnSpPr>
            <a:cxnSpLocks/>
          </p:cNvCxnSpPr>
          <p:nvPr/>
        </p:nvCxnSpPr>
        <p:spPr>
          <a:xfrm>
            <a:off x="708609" y="5140095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id="{BC619E89-B2AD-3744-B7C3-69E1AE697DFA}"/>
              </a:ext>
            </a:extLst>
          </p:cNvPr>
          <p:cNvCxnSpPr>
            <a:cxnSpLocks/>
          </p:cNvCxnSpPr>
          <p:nvPr/>
        </p:nvCxnSpPr>
        <p:spPr>
          <a:xfrm>
            <a:off x="724985" y="5511309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id="{D7FF982D-4583-D24F-90B3-D5E24971D9EA}"/>
              </a:ext>
            </a:extLst>
          </p:cNvPr>
          <p:cNvCxnSpPr>
            <a:cxnSpLocks/>
          </p:cNvCxnSpPr>
          <p:nvPr/>
        </p:nvCxnSpPr>
        <p:spPr>
          <a:xfrm>
            <a:off x="717593" y="5859918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>
            <a:extLst>
              <a:ext uri="{FF2B5EF4-FFF2-40B4-BE49-F238E27FC236}">
                <a16:creationId xmlns:a16="http://schemas.microsoft.com/office/drawing/2014/main" id="{3D1E50CD-CD97-2C44-8D65-4E830B94652F}"/>
              </a:ext>
            </a:extLst>
          </p:cNvPr>
          <p:cNvCxnSpPr>
            <a:cxnSpLocks/>
          </p:cNvCxnSpPr>
          <p:nvPr/>
        </p:nvCxnSpPr>
        <p:spPr>
          <a:xfrm>
            <a:off x="716153" y="6211889"/>
            <a:ext cx="9324432" cy="0"/>
          </a:xfrm>
          <a:prstGeom prst="line">
            <a:avLst/>
          </a:prstGeom>
          <a:ln w="22225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extBox 85">
            <a:extLst>
              <a:ext uri="{FF2B5EF4-FFF2-40B4-BE49-F238E27FC236}">
                <a16:creationId xmlns:a16="http://schemas.microsoft.com/office/drawing/2014/main" id="{C3C5E325-E0EE-BD40-A0CB-5953B53A3E5F}"/>
              </a:ext>
            </a:extLst>
          </p:cNvPr>
          <p:cNvSpPr txBox="1"/>
          <p:nvPr/>
        </p:nvSpPr>
        <p:spPr>
          <a:xfrm>
            <a:off x="621923" y="5899085"/>
            <a:ext cx="15808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бак нюхательный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6A35F18-E7B0-2C40-8201-03A8752A938B}"/>
              </a:ext>
            </a:extLst>
          </p:cNvPr>
          <p:cNvSpPr txBox="1"/>
          <p:nvPr/>
        </p:nvSpPr>
        <p:spPr>
          <a:xfrm>
            <a:off x="5448524" y="5897898"/>
            <a:ext cx="103586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2.00.19.14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7FD9960B-1C4C-9248-85A9-693F452FC0B4}"/>
              </a:ext>
            </a:extLst>
          </p:cNvPr>
          <p:cNvSpPr txBox="1"/>
          <p:nvPr/>
        </p:nvSpPr>
        <p:spPr>
          <a:xfrm>
            <a:off x="7831959" y="5902238"/>
            <a:ext cx="11432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403 99 100 0</a:t>
            </a:r>
            <a:endParaRPr lang="ru-PT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2D63E54-A07C-904A-B7D6-D58BD466F41A}"/>
              </a:ext>
            </a:extLst>
          </p:cNvPr>
          <p:cNvSpPr/>
          <p:nvPr/>
        </p:nvSpPr>
        <p:spPr>
          <a:xfrm>
            <a:off x="10218088" y="1783077"/>
            <a:ext cx="59376" cy="114517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ABF0229E-8366-AD4D-92CE-28375D2C0C05}"/>
              </a:ext>
            </a:extLst>
          </p:cNvPr>
          <p:cNvSpPr/>
          <p:nvPr/>
        </p:nvSpPr>
        <p:spPr>
          <a:xfrm>
            <a:off x="10219092" y="3062707"/>
            <a:ext cx="59376" cy="316800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dirty="0"/>
          </a:p>
        </p:txBody>
      </p:sp>
    </p:spTree>
    <p:extLst>
      <p:ext uri="{BB962C8B-B14F-4D97-AF65-F5344CB8AC3E}">
        <p14:creationId xmlns:p14="http://schemas.microsoft.com/office/powerpoint/2010/main" val="2155283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6" name="Object 2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430" y="10497"/>
          <a:ext cx="1583" cy="15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1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226" name="Object 2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30" y="10497"/>
                        <a:ext cx="1583" cy="158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5B92E28E-8A0D-4E41-B591-93C764BEBA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5845" y="8913"/>
            <a:ext cx="158337" cy="158337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47" name="object 9"/>
          <p:cNvSpPr txBox="1"/>
          <p:nvPr/>
        </p:nvSpPr>
        <p:spPr>
          <a:xfrm>
            <a:off x="1986129" y="1395691"/>
            <a:ext cx="1307234" cy="606029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1 марта </a:t>
            </a:r>
          </a:p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2019 года</a:t>
            </a:r>
          </a:p>
        </p:txBody>
      </p:sp>
      <p:sp>
        <p:nvSpPr>
          <p:cNvPr id="48" name="object 10"/>
          <p:cNvSpPr txBox="1"/>
          <p:nvPr/>
        </p:nvSpPr>
        <p:spPr>
          <a:xfrm>
            <a:off x="1986129" y="2148138"/>
            <a:ext cx="2329393" cy="80721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r>
              <a:rPr lang="ru-RU" sz="12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Обязательная регистрация </a:t>
            </a:r>
            <a:r>
              <a:rPr lang="ru-RU" sz="10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производителей, импортеров и торговых точек в Национальной системе цифровой маркировки Честный ЗНАК.</a:t>
            </a:r>
          </a:p>
        </p:txBody>
      </p:sp>
      <p:sp>
        <p:nvSpPr>
          <p:cNvPr id="49" name="object 12"/>
          <p:cNvSpPr txBox="1"/>
          <p:nvPr/>
        </p:nvSpPr>
        <p:spPr>
          <a:xfrm>
            <a:off x="4542761" y="2148138"/>
            <a:ext cx="3685411" cy="1915213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207935" indent="-207935" fontAlgn="base"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Прекращение выпуска немаркированной продукции</a:t>
            </a:r>
          </a:p>
          <a:p>
            <a:pPr marL="207935" indent="-207935" fontAlgn="base">
              <a:buFont typeface="Wingdings" panose="05000000000000000000" pitchFamily="2" charset="2"/>
              <a:buChar char="§"/>
            </a:pPr>
            <a:endParaRPr lang="ru-RU" sz="1000" b="1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 panose="020B0604030504040204" pitchFamily="34" charset="0"/>
            </a:endParaRPr>
          </a:p>
          <a:p>
            <a:pPr marL="207935" indent="-207935" fontAlgn="base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При продаже сигарет на кассе нужно просканировать </a:t>
            </a:r>
            <a:r>
              <a:rPr lang="ru-RU" sz="1000" dirty="0" err="1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DataMatrix</a:t>
            </a:r>
            <a:r>
              <a:rPr lang="ru-RU" sz="10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 код с каждой пачки или блока, а касса должна передать в ОФД информацию о том, что в чеке содержится маркируемая продукция.</a:t>
            </a:r>
          </a:p>
          <a:p>
            <a:pPr marL="207935" indent="-207935" fontAlgn="base">
              <a:buFont typeface="Wingdings" panose="05000000000000000000" pitchFamily="2" charset="2"/>
              <a:buChar char="§"/>
            </a:pPr>
            <a:endParaRPr lang="ru-RU" sz="1000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 panose="020B0604030504040204" pitchFamily="34" charset="0"/>
            </a:endParaRPr>
          </a:p>
          <a:p>
            <a:pPr marL="207935" indent="-207935" fontAlgn="base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Поставка маркированных сигарет дистрибьютору напрямую от производителя сопровождается электронными УПД с указанием кодов продукции при помощи систем ЭДО</a:t>
            </a:r>
          </a:p>
        </p:txBody>
      </p:sp>
      <p:sp>
        <p:nvSpPr>
          <p:cNvPr id="53" name="Нашивка 52"/>
          <p:cNvSpPr/>
          <p:nvPr/>
        </p:nvSpPr>
        <p:spPr>
          <a:xfrm>
            <a:off x="8218013" y="2989024"/>
            <a:ext cx="168278" cy="374328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 dirty="0">
              <a:solidFill>
                <a:schemeClr val="tx1"/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55" name="object 9"/>
          <p:cNvSpPr txBox="1"/>
          <p:nvPr/>
        </p:nvSpPr>
        <p:spPr>
          <a:xfrm>
            <a:off x="4766281" y="1390072"/>
            <a:ext cx="2093241" cy="606029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1 июля </a:t>
            </a:r>
          </a:p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20</a:t>
            </a:r>
            <a:r>
              <a:rPr lang="en-US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19</a:t>
            </a:r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 года</a:t>
            </a:r>
          </a:p>
        </p:txBody>
      </p:sp>
      <p:sp>
        <p:nvSpPr>
          <p:cNvPr id="56" name="object 9"/>
          <p:cNvSpPr txBox="1"/>
          <p:nvPr/>
        </p:nvSpPr>
        <p:spPr>
          <a:xfrm>
            <a:off x="8767118" y="1390072"/>
            <a:ext cx="2562961" cy="606029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1 июля </a:t>
            </a:r>
          </a:p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2020 года</a:t>
            </a:r>
          </a:p>
        </p:txBody>
      </p:sp>
      <p:sp>
        <p:nvSpPr>
          <p:cNvPr id="60" name="object 12"/>
          <p:cNvSpPr txBox="1"/>
          <p:nvPr/>
        </p:nvSpPr>
        <p:spPr>
          <a:xfrm>
            <a:off x="8553556" y="2148138"/>
            <a:ext cx="3043588" cy="162282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207935" indent="-207935" fontAlgn="base"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Прекращение оборота немаркированной продукции</a:t>
            </a:r>
          </a:p>
          <a:p>
            <a:pPr marL="207935" indent="-207935" fontAlgn="base">
              <a:buFont typeface="Wingdings" panose="05000000000000000000" pitchFamily="2" charset="2"/>
              <a:buChar char="§"/>
            </a:pPr>
            <a:endParaRPr lang="ru-RU" sz="1100" b="1" dirty="0">
              <a:solidFill>
                <a:srgbClr val="595959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Tahoma" panose="020B0604030504040204" pitchFamily="34" charset="0"/>
            </a:endParaRPr>
          </a:p>
          <a:p>
            <a:pPr marL="207935" indent="-207935" fontAlgn="base">
              <a:buFont typeface="Wingdings" panose="05000000000000000000" pitchFamily="2" charset="2"/>
              <a:buChar char="§"/>
            </a:pPr>
            <a:r>
              <a:rPr lang="ru-RU" sz="10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Поставка маркированных сигарет в розничную точку и </a:t>
            </a:r>
            <a:r>
              <a:rPr lang="ru-RU" sz="1000" dirty="0" err="1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субдистрибьютору</a:t>
            </a:r>
            <a:r>
              <a:rPr lang="ru-RU" sz="1000" dirty="0">
                <a:solidFill>
                  <a:srgbClr val="595959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 будет сопровождаться электронными универсальными передаточными документами (УПД) с указанием кодов продукции при помощи систем электронного документооборота.</a:t>
            </a:r>
          </a:p>
        </p:txBody>
      </p:sp>
      <p:sp>
        <p:nvSpPr>
          <p:cNvPr id="20" name="Скругленный прямоугольник 19">
            <a:extLst>
              <a:ext uri="{FF2B5EF4-FFF2-40B4-BE49-F238E27FC236}">
                <a16:creationId xmlns:a16="http://schemas.microsoft.com/office/drawing/2014/main" id="{CC18812D-96C7-5449-84F1-6319F3C0665F}"/>
              </a:ext>
            </a:extLst>
          </p:cNvPr>
          <p:cNvSpPr/>
          <p:nvPr/>
        </p:nvSpPr>
        <p:spPr>
          <a:xfrm>
            <a:off x="313642" y="299429"/>
            <a:ext cx="11511102" cy="891154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EE319BB-E71A-5C47-B10A-0D77D27A8D79}"/>
              </a:ext>
            </a:extLst>
          </p:cNvPr>
          <p:cNvSpPr txBox="1"/>
          <p:nvPr/>
        </p:nvSpPr>
        <p:spPr>
          <a:xfrm>
            <a:off x="553825" y="468125"/>
            <a:ext cx="112709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6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тапы внедрения обязательной маркировки табачной продукции</a:t>
            </a:r>
          </a:p>
        </p:txBody>
      </p: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81CB296E-1D3D-8449-9DAC-2344FFDA7E11}"/>
              </a:ext>
            </a:extLst>
          </p:cNvPr>
          <p:cNvCxnSpPr>
            <a:cxnSpLocks/>
          </p:cNvCxnSpPr>
          <p:nvPr/>
        </p:nvCxnSpPr>
        <p:spPr>
          <a:xfrm>
            <a:off x="3208046" y="1564232"/>
            <a:ext cx="1345157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CB111A72-3A57-4845-A2E1-D550FBF51F2D}"/>
              </a:ext>
            </a:extLst>
          </p:cNvPr>
          <p:cNvCxnSpPr>
            <a:cxnSpLocks/>
          </p:cNvCxnSpPr>
          <p:nvPr/>
        </p:nvCxnSpPr>
        <p:spPr>
          <a:xfrm>
            <a:off x="5983744" y="1564232"/>
            <a:ext cx="2402547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bject 9">
            <a:extLst>
              <a:ext uri="{FF2B5EF4-FFF2-40B4-BE49-F238E27FC236}">
                <a16:creationId xmlns:a16="http://schemas.microsoft.com/office/drawing/2014/main" id="{F56F377A-06CF-D646-A82C-B55D363BA308}"/>
              </a:ext>
            </a:extLst>
          </p:cNvPr>
          <p:cNvSpPr txBox="1"/>
          <p:nvPr/>
        </p:nvSpPr>
        <p:spPr>
          <a:xfrm>
            <a:off x="1996289" y="4162683"/>
            <a:ext cx="1307234" cy="606029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1 марта </a:t>
            </a:r>
          </a:p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2019 года</a:t>
            </a:r>
          </a:p>
        </p:txBody>
      </p:sp>
      <p:sp>
        <p:nvSpPr>
          <p:cNvPr id="22" name="object 10">
            <a:extLst>
              <a:ext uri="{FF2B5EF4-FFF2-40B4-BE49-F238E27FC236}">
                <a16:creationId xmlns:a16="http://schemas.microsoft.com/office/drawing/2014/main" id="{85952240-04C6-304E-B1D7-2F7395349E06}"/>
              </a:ext>
            </a:extLst>
          </p:cNvPr>
          <p:cNvSpPr txBox="1"/>
          <p:nvPr/>
        </p:nvSpPr>
        <p:spPr>
          <a:xfrm>
            <a:off x="1996289" y="4870524"/>
            <a:ext cx="2174267" cy="83799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r>
              <a:rPr lang="ru-RU" sz="1200" b="1" dirty="0">
                <a:solidFill>
                  <a:srgbClr val="595959"/>
                </a:solidFill>
                <a:latin typeface="PT Sans Caption" panose="020B0603020203020204" pitchFamily="34" charset="0"/>
              </a:rPr>
              <a:t>Регистрация импортеров и производителей</a:t>
            </a:r>
            <a:endParaRPr lang="ru-RU" sz="1000" b="1" dirty="0">
              <a:solidFill>
                <a:srgbClr val="595959"/>
              </a:solidFill>
              <a:latin typeface="PT Sans Caption" panose="020B0603020203020204" pitchFamily="34" charset="0"/>
            </a:endParaRPr>
          </a:p>
          <a:p>
            <a:r>
              <a:rPr lang="ru-RU" sz="1000" dirty="0">
                <a:solidFill>
                  <a:srgbClr val="595959"/>
                </a:solidFill>
                <a:latin typeface="PT Sans Caption" panose="020B0603020203020204" pitchFamily="34" charset="0"/>
              </a:rPr>
              <a:t>табачной продукции​ в Национальной системе цифровой </a:t>
            </a:r>
          </a:p>
        </p:txBody>
      </p:sp>
      <p:sp>
        <p:nvSpPr>
          <p:cNvPr id="23" name="object 12">
            <a:extLst>
              <a:ext uri="{FF2B5EF4-FFF2-40B4-BE49-F238E27FC236}">
                <a16:creationId xmlns:a16="http://schemas.microsoft.com/office/drawing/2014/main" id="{6DA387C1-AAE9-C541-8E1D-6A4E8E8F215E}"/>
              </a:ext>
            </a:extLst>
          </p:cNvPr>
          <p:cNvSpPr txBox="1"/>
          <p:nvPr/>
        </p:nvSpPr>
        <p:spPr>
          <a:xfrm>
            <a:off x="4552922" y="4870526"/>
            <a:ext cx="3468524" cy="1761325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207935" indent="-207935" fontAlgn="base"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кращение </a:t>
            </a:r>
            <a:r>
              <a:rPr lang="en-US" sz="12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воза</a:t>
            </a:r>
            <a:r>
              <a:rPr lang="en-US" sz="12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2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</a:t>
            </a:r>
            <a:r>
              <a:rPr lang="en-US" sz="12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2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риторию</a:t>
            </a:r>
            <a:r>
              <a:rPr lang="en-US" sz="12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РФ</a:t>
            </a:r>
            <a:endParaRPr lang="ru-RU" sz="1200" b="1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/>
            <a:r>
              <a:rPr lang="ru-RU" sz="12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</a:t>
            </a:r>
            <a:r>
              <a:rPr lang="en-US" sz="12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аркированной</a:t>
            </a:r>
            <a:r>
              <a:rPr lang="en-US" sz="12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2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укции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​</a:t>
            </a:r>
            <a:endParaRPr lang="ru-RU" sz="1000" b="1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07935" indent="-207935" fontAlgn="base">
              <a:buFont typeface="Wingdings" panose="05000000000000000000" pitchFamily="2" charset="2"/>
              <a:buChar char="§"/>
            </a:pPr>
            <a:endParaRPr lang="en-US" sz="1000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07935" indent="-207935" fontAlgn="base">
              <a:buFont typeface="Wingdings" panose="05000000000000000000" pitchFamily="2" charset="2"/>
              <a:buChar char="§"/>
            </a:pP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кращение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зводства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ритории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РФ</a:t>
            </a:r>
            <a:endParaRPr lang="ru-RU" sz="1000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/>
            <a:r>
              <a:rPr lang="ru-RU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аркированной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укции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​</a:t>
            </a:r>
            <a:endParaRPr lang="ru-RU" sz="1000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/>
            <a:endParaRPr lang="en-US" sz="1000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07935" indent="-207935" fontAlgn="base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страция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ажи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кированной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укции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ечным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требителям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мощи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ККТ.​</a:t>
            </a:r>
            <a:endParaRPr lang="ru-RU" sz="1000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/>
            <a:endParaRPr lang="en-US" sz="1000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07935" indent="-207935" fontAlgn="base">
              <a:buFont typeface="Wingdings" panose="05000000000000000000" pitchFamily="2" charset="2"/>
              <a:buChar char="§"/>
            </a:pP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страция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орота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кированной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укции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жду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никами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000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ованием</a:t>
            </a:r>
            <a:r>
              <a:rPr lang="en-US" sz="1000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УПД​</a:t>
            </a:r>
          </a:p>
        </p:txBody>
      </p:sp>
      <p:sp>
        <p:nvSpPr>
          <p:cNvPr id="24" name="Нашивка 23">
            <a:extLst>
              <a:ext uri="{FF2B5EF4-FFF2-40B4-BE49-F238E27FC236}">
                <a16:creationId xmlns:a16="http://schemas.microsoft.com/office/drawing/2014/main" id="{0332DFEC-FC76-8C44-BAD0-B8DF5EF7CCD8}"/>
              </a:ext>
            </a:extLst>
          </p:cNvPr>
          <p:cNvSpPr/>
          <p:nvPr/>
        </p:nvSpPr>
        <p:spPr>
          <a:xfrm>
            <a:off x="8228173" y="6402784"/>
            <a:ext cx="168278" cy="374328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 dirty="0">
              <a:solidFill>
                <a:schemeClr val="tx1"/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25" name="object 9">
            <a:extLst>
              <a:ext uri="{FF2B5EF4-FFF2-40B4-BE49-F238E27FC236}">
                <a16:creationId xmlns:a16="http://schemas.microsoft.com/office/drawing/2014/main" id="{1E3544B2-19A8-1B47-8EC9-2EBB3EB0D1C7}"/>
              </a:ext>
            </a:extLst>
          </p:cNvPr>
          <p:cNvSpPr txBox="1"/>
          <p:nvPr/>
        </p:nvSpPr>
        <p:spPr>
          <a:xfrm>
            <a:off x="4776441" y="4157064"/>
            <a:ext cx="2093241" cy="606029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1 июля </a:t>
            </a:r>
          </a:p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2020 года</a:t>
            </a:r>
          </a:p>
        </p:txBody>
      </p:sp>
      <p:sp>
        <p:nvSpPr>
          <p:cNvPr id="28" name="object 9">
            <a:extLst>
              <a:ext uri="{FF2B5EF4-FFF2-40B4-BE49-F238E27FC236}">
                <a16:creationId xmlns:a16="http://schemas.microsoft.com/office/drawing/2014/main" id="{1E8C1DA6-EAD2-FF4A-A1CA-509EBA22DF0A}"/>
              </a:ext>
            </a:extLst>
          </p:cNvPr>
          <p:cNvSpPr txBox="1"/>
          <p:nvPr/>
        </p:nvSpPr>
        <p:spPr>
          <a:xfrm>
            <a:off x="8754977" y="4157064"/>
            <a:ext cx="2562961" cy="606029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1 июля </a:t>
            </a:r>
          </a:p>
          <a:p>
            <a:r>
              <a:rPr lang="ru-RU" sz="1940" b="1" dirty="0">
                <a:solidFill>
                  <a:schemeClr val="tx1">
                    <a:lumMod val="65000"/>
                    <a:lumOff val="3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Tahoma" panose="020B0604030504040204" pitchFamily="34" charset="0"/>
              </a:rPr>
              <a:t>2021 года</a:t>
            </a:r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87AFDE69-369D-274C-87A6-A430B4D868AC}"/>
              </a:ext>
            </a:extLst>
          </p:cNvPr>
          <p:cNvSpPr txBox="1"/>
          <p:nvPr/>
        </p:nvSpPr>
        <p:spPr>
          <a:xfrm>
            <a:off x="8781156" y="4870524"/>
            <a:ext cx="3043588" cy="853384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fontAlgn="base"/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кращение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орота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маркированной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укции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(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м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исле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​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товом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вене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. </a:t>
            </a:r>
            <a:endParaRPr lang="ru-RU" sz="1100" b="1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/>
            <a:endParaRPr lang="ru-RU" sz="1100" b="1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/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1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юля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2021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ладские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татки</a:t>
            </a:r>
            <a:endParaRPr lang="ru-RU" sz="1100" b="1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/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жны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ыть</a:t>
            </a:r>
            <a:r>
              <a:rPr lang="en-US" sz="1100" b="1" dirty="0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  <a:r>
              <a:rPr lang="en-US" sz="1100" b="1" dirty="0" err="1">
                <a:solidFill>
                  <a:srgbClr val="595959"/>
                </a:solidFill>
                <a:latin typeface="PT Sans Caption" panose="020B06030202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кированы</a:t>
            </a:r>
            <a:endParaRPr lang="en-US" sz="1100" b="1" dirty="0">
              <a:solidFill>
                <a:srgbClr val="595959"/>
              </a:solidFill>
              <a:latin typeface="PT Sans Caption" panose="020B0603020203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1" name="Прямая со стрелкой 30">
            <a:extLst>
              <a:ext uri="{FF2B5EF4-FFF2-40B4-BE49-F238E27FC236}">
                <a16:creationId xmlns:a16="http://schemas.microsoft.com/office/drawing/2014/main" id="{4925B1F7-6BB3-1347-BBF1-CA7010843ECA}"/>
              </a:ext>
            </a:extLst>
          </p:cNvPr>
          <p:cNvCxnSpPr>
            <a:cxnSpLocks/>
          </p:cNvCxnSpPr>
          <p:nvPr/>
        </p:nvCxnSpPr>
        <p:spPr>
          <a:xfrm>
            <a:off x="3218206" y="4331224"/>
            <a:ext cx="1345157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>
            <a:extLst>
              <a:ext uri="{FF2B5EF4-FFF2-40B4-BE49-F238E27FC236}">
                <a16:creationId xmlns:a16="http://schemas.microsoft.com/office/drawing/2014/main" id="{AB06CF12-EE8B-174B-A4D3-0EF72B181D19}"/>
              </a:ext>
            </a:extLst>
          </p:cNvPr>
          <p:cNvCxnSpPr>
            <a:cxnSpLocks/>
          </p:cNvCxnSpPr>
          <p:nvPr/>
        </p:nvCxnSpPr>
        <p:spPr>
          <a:xfrm>
            <a:off x="5993904" y="4331224"/>
            <a:ext cx="2402547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C72E58F-620D-EE4C-A100-176814DAEF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900" y="1880724"/>
            <a:ext cx="621468" cy="621468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A0D251B-13A2-CD41-8476-D2874BDACB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371" y="4448750"/>
            <a:ext cx="746251" cy="746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03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Скругленный прямоугольник 43">
            <a:extLst>
              <a:ext uri="{FF2B5EF4-FFF2-40B4-BE49-F238E27FC236}">
                <a16:creationId xmlns:a16="http://schemas.microsoft.com/office/drawing/2014/main" id="{BD267036-C8C7-834A-9F78-76A868F901D0}"/>
              </a:ext>
            </a:extLst>
          </p:cNvPr>
          <p:cNvSpPr/>
          <p:nvPr/>
        </p:nvSpPr>
        <p:spPr>
          <a:xfrm>
            <a:off x="832016" y="3676198"/>
            <a:ext cx="1712787" cy="65420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7842F3E-A0DE-48EC-AB23-5058409AFA96}"/>
              </a:ext>
            </a:extLst>
          </p:cNvPr>
          <p:cNvSpPr txBox="1"/>
          <p:nvPr/>
        </p:nvSpPr>
        <p:spPr>
          <a:xfrm>
            <a:off x="294146" y="4514229"/>
            <a:ext cx="2573412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5"/>
              </a:spcBef>
            </a:pPr>
            <a:r>
              <a:rPr lang="ru-RU" sz="1200" b="1" spc="2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Участников  </a:t>
            </a:r>
            <a:r>
              <a:rPr lang="ru-RU" sz="1200" b="1" spc="3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зареги</a:t>
            </a:r>
            <a:r>
              <a:rPr lang="ru-RU" sz="1200" b="1" spc="30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стрировано</a:t>
            </a:r>
            <a:endParaRPr lang="ru-RU" sz="1200" b="1" dirty="0">
              <a:solidFill>
                <a:srgbClr val="595959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7" name="Прямоугольник 11">
            <a:extLst>
              <a:ext uri="{FF2B5EF4-FFF2-40B4-BE49-F238E27FC236}">
                <a16:creationId xmlns:a16="http://schemas.microsoft.com/office/drawing/2014/main" id="{7A1FE3FB-8398-478F-8EE3-2B7ECEADF802}"/>
              </a:ext>
            </a:extLst>
          </p:cNvPr>
          <p:cNvSpPr txBox="1"/>
          <p:nvPr/>
        </p:nvSpPr>
        <p:spPr>
          <a:xfrm>
            <a:off x="832016" y="3666495"/>
            <a:ext cx="1712787" cy="5865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lnSpc>
                <a:spcPct val="150000"/>
              </a:lnSpc>
              <a:spcBef>
                <a:spcPts val="1500"/>
              </a:spcBef>
              <a:defRPr sz="2800" b="1"/>
            </a:pPr>
            <a:r>
              <a:rPr sz="2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 </a:t>
            </a:r>
            <a:r>
              <a:rPr lang="ru-RU" sz="2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60</a:t>
            </a:r>
            <a:r>
              <a:rPr sz="2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000</a:t>
            </a:r>
          </a:p>
        </p:txBody>
      </p:sp>
      <p:sp>
        <p:nvSpPr>
          <p:cNvPr id="23" name="Прямоугольник 36">
            <a:extLst>
              <a:ext uri="{FF2B5EF4-FFF2-40B4-BE49-F238E27FC236}">
                <a16:creationId xmlns:a16="http://schemas.microsoft.com/office/drawing/2014/main" id="{C53BAD3D-E610-4C2E-847F-F9E5E487B798}"/>
              </a:ext>
            </a:extLst>
          </p:cNvPr>
          <p:cNvSpPr txBox="1"/>
          <p:nvPr/>
        </p:nvSpPr>
        <p:spPr>
          <a:xfrm>
            <a:off x="8774566" y="4462067"/>
            <a:ext cx="2439853" cy="4616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600" b="1"/>
            </a:pPr>
            <a:r>
              <a:rPr lang="ru-RU" sz="1200" b="1" spc="3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Пачек п</a:t>
            </a:r>
            <a:r>
              <a:rPr lang="ru-RU" sz="1200" b="1" spc="1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родукции  </a:t>
            </a:r>
            <a:r>
              <a:rPr lang="ru-RU" sz="1200" b="1" spc="2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промаркировано</a:t>
            </a:r>
            <a:endParaRPr sz="1200" b="1" dirty="0">
              <a:solidFill>
                <a:srgbClr val="595959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34" name="Прямоугольник 36">
            <a:extLst>
              <a:ext uri="{FF2B5EF4-FFF2-40B4-BE49-F238E27FC236}">
                <a16:creationId xmlns:a16="http://schemas.microsoft.com/office/drawing/2014/main" id="{C53BAD3D-E610-4C2E-847F-F9E5E487B798}"/>
              </a:ext>
            </a:extLst>
          </p:cNvPr>
          <p:cNvSpPr txBox="1"/>
          <p:nvPr/>
        </p:nvSpPr>
        <p:spPr>
          <a:xfrm>
            <a:off x="8797995" y="5942655"/>
            <a:ext cx="2335194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algn="ctr">
              <a:defRPr sz="1600" b="1"/>
            </a:pPr>
            <a:r>
              <a:rPr lang="ru-RU" sz="1200" b="1" spc="3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Пачек п</a:t>
            </a:r>
            <a:r>
              <a:rPr lang="ru-RU" sz="1200" b="1" spc="1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родано </a:t>
            </a:r>
            <a:r>
              <a:rPr lang="ru-RU" sz="1200" b="1" spc="4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в</a:t>
            </a:r>
            <a:r>
              <a:rPr lang="ru-RU" sz="1200" b="1" spc="80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 </a:t>
            </a:r>
            <a:r>
              <a:rPr lang="ru-RU" sz="1200" b="1" spc="2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розницу</a:t>
            </a:r>
            <a:endParaRPr sz="1200" b="1" dirty="0">
              <a:solidFill>
                <a:srgbClr val="595959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37" name="Прямоугольник 5">
            <a:extLst>
              <a:ext uri="{FF2B5EF4-FFF2-40B4-BE49-F238E27FC236}">
                <a16:creationId xmlns:a16="http://schemas.microsoft.com/office/drawing/2014/main" id="{A7842F3E-A0DE-48EC-AB23-5058409AFA96}"/>
              </a:ext>
            </a:extLst>
          </p:cNvPr>
          <p:cNvSpPr txBox="1"/>
          <p:nvPr/>
        </p:nvSpPr>
        <p:spPr>
          <a:xfrm>
            <a:off x="3133036" y="4520783"/>
            <a:ext cx="2573412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105"/>
              </a:spcBef>
            </a:pPr>
            <a:r>
              <a:rPr lang="ru-RU" sz="1200" b="1" spc="3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Производителей сигарет</a:t>
            </a:r>
            <a:r>
              <a:rPr lang="ru-RU" sz="1200" b="1" spc="30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 </a:t>
            </a:r>
            <a:r>
              <a:rPr lang="ru-RU" sz="1200" b="1" spc="20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выпускают исключительно маркированную продукцию</a:t>
            </a:r>
            <a:endParaRPr lang="ru-RU" sz="1200" b="1" dirty="0">
              <a:solidFill>
                <a:srgbClr val="595959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2B12AEF5-3C93-0A4E-92E8-9815F142C2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4979" y="2033469"/>
            <a:ext cx="1856477" cy="1569639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</p:spPr>
      </p:pic>
      <p:pic>
        <p:nvPicPr>
          <p:cNvPr id="41" name="Рисунок 40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F27B831D-AA8B-7F45-B4E8-9BCA0DE7A0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57" b="7"/>
          <a:stretch/>
        </p:blipFill>
        <p:spPr>
          <a:xfrm>
            <a:off x="3175028" y="1756265"/>
            <a:ext cx="2190435" cy="2190435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F1DEBF7-B405-8C4C-BE61-3B13ED5DCB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78093" y="1543269"/>
            <a:ext cx="2335195" cy="2335195"/>
          </a:xfrm>
          <a:prstGeom prst="rect">
            <a:avLst/>
          </a:prstGeom>
        </p:spPr>
      </p:pic>
      <p:sp>
        <p:nvSpPr>
          <p:cNvPr id="42" name="Скругленный прямоугольник 41">
            <a:extLst>
              <a:ext uri="{FF2B5EF4-FFF2-40B4-BE49-F238E27FC236}">
                <a16:creationId xmlns:a16="http://schemas.microsoft.com/office/drawing/2014/main" id="{3C2424B6-40AE-7B4E-8937-D4EBC38E6606}"/>
              </a:ext>
            </a:extLst>
          </p:cNvPr>
          <p:cNvSpPr/>
          <p:nvPr/>
        </p:nvSpPr>
        <p:spPr>
          <a:xfrm>
            <a:off x="675039" y="699679"/>
            <a:ext cx="5744811" cy="84359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E2F341D-8DBC-7345-8733-4F94FB636917}"/>
              </a:ext>
            </a:extLst>
          </p:cNvPr>
          <p:cNvSpPr txBox="1"/>
          <p:nvPr/>
        </p:nvSpPr>
        <p:spPr>
          <a:xfrm>
            <a:off x="888228" y="862103"/>
            <a:ext cx="53158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а сигарет сегодня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Скругленный прямоугольник 44">
            <a:extLst>
              <a:ext uri="{FF2B5EF4-FFF2-40B4-BE49-F238E27FC236}">
                <a16:creationId xmlns:a16="http://schemas.microsoft.com/office/drawing/2014/main" id="{D167EB62-BBFC-C649-ADFD-696EACADFB4C}"/>
              </a:ext>
            </a:extLst>
          </p:cNvPr>
          <p:cNvSpPr/>
          <p:nvPr/>
        </p:nvSpPr>
        <p:spPr>
          <a:xfrm>
            <a:off x="3716128" y="3682824"/>
            <a:ext cx="1427376" cy="65420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dirty="0"/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083AA85-5829-4219-BD07-EE4912ADD8F9}"/>
              </a:ext>
            </a:extLst>
          </p:cNvPr>
          <p:cNvSpPr/>
          <p:nvPr/>
        </p:nvSpPr>
        <p:spPr>
          <a:xfrm>
            <a:off x="3716127" y="3791394"/>
            <a:ext cx="14273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2800" b="1"/>
            </a:pPr>
            <a:r>
              <a:rPr lang="ru-RU" sz="2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0 %</a:t>
            </a:r>
          </a:p>
        </p:txBody>
      </p:sp>
      <p:sp>
        <p:nvSpPr>
          <p:cNvPr id="20" name="Прямоугольник 33">
            <a:extLst>
              <a:ext uri="{FF2B5EF4-FFF2-40B4-BE49-F238E27FC236}">
                <a16:creationId xmlns:a16="http://schemas.microsoft.com/office/drawing/2014/main" id="{D1651FC3-BA45-4713-BFBF-74C18ED41657}"/>
              </a:ext>
            </a:extLst>
          </p:cNvPr>
          <p:cNvSpPr txBox="1"/>
          <p:nvPr/>
        </p:nvSpPr>
        <p:spPr>
          <a:xfrm>
            <a:off x="5806875" y="3699060"/>
            <a:ext cx="277009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>
            <a:lvl1pPr>
              <a:defRPr sz="1600" b="1"/>
            </a:lvl1pPr>
          </a:lstStyle>
          <a:p>
            <a:pPr marL="12700" marR="166370" algn="ctr">
              <a:lnSpc>
                <a:spcPct val="100000"/>
              </a:lnSpc>
              <a:spcBef>
                <a:spcPts val="105"/>
              </a:spcBef>
            </a:pPr>
            <a:r>
              <a:rPr lang="ru-RU" sz="1200" spc="-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Мобильное  </a:t>
            </a:r>
            <a:r>
              <a:rPr lang="ru-RU" sz="1200" spc="1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прил</a:t>
            </a:r>
            <a:r>
              <a:rPr lang="ru-RU" sz="1200" spc="-3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ож</a:t>
            </a:r>
            <a:r>
              <a:rPr lang="ru-RU" sz="1200" spc="20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ение</a:t>
            </a:r>
            <a:endParaRPr lang="ru-RU" sz="1200" dirty="0">
              <a:solidFill>
                <a:srgbClr val="595959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 marL="12700" marR="5080" algn="ctr">
              <a:lnSpc>
                <a:spcPct val="100000"/>
              </a:lnSpc>
              <a:spcBef>
                <a:spcPts val="20"/>
              </a:spcBef>
            </a:pPr>
            <a:r>
              <a:rPr lang="ru-RU" sz="1200" spc="229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–</a:t>
            </a:r>
            <a:r>
              <a:rPr lang="ru-RU" sz="1200" spc="-23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 </a:t>
            </a:r>
            <a:r>
              <a:rPr lang="ru-RU" sz="1200" spc="10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инструмент  </a:t>
            </a:r>
            <a:r>
              <a:rPr lang="ru-RU" sz="1200" spc="20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гражданс</a:t>
            </a:r>
            <a:r>
              <a:rPr lang="ru-RU" sz="1200" spc="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к</a:t>
            </a:r>
            <a:r>
              <a:rPr lang="ru-RU" sz="1200" spc="20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о</a:t>
            </a:r>
            <a:r>
              <a:rPr lang="ru-RU" sz="1200" spc="15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г</a:t>
            </a:r>
            <a:r>
              <a:rPr lang="ru-RU" sz="1200" spc="10" dirty="0">
                <a:solidFill>
                  <a:srgbClr val="595959"/>
                </a:solidFill>
                <a:latin typeface="Segoe UI Semibold" panose="020B0502040204020203" pitchFamily="34" charset="0"/>
                <a:ea typeface="Segoe UI Semibold" panose="020B0502040204020203" pitchFamily="34" charset="0"/>
                <a:cs typeface="Segoe UI Semibold" panose="020B0502040204020203" pitchFamily="34" charset="0"/>
              </a:rPr>
              <a:t>о  контроля</a:t>
            </a:r>
            <a:endParaRPr lang="ru-RU" sz="1200" dirty="0">
              <a:solidFill>
                <a:srgbClr val="595959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pic>
        <p:nvPicPr>
          <p:cNvPr id="18" name="Рисунок 17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4862F60B-C337-764B-B8D1-52FB59284C5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7802" y="1687120"/>
            <a:ext cx="2198838" cy="2198838"/>
          </a:xfrm>
          <a:prstGeom prst="rect">
            <a:avLst/>
          </a:prstGeom>
        </p:spPr>
      </p:pic>
      <p:sp>
        <p:nvSpPr>
          <p:cNvPr id="46" name="Скругленный прямоугольник 45">
            <a:extLst>
              <a:ext uri="{FF2B5EF4-FFF2-40B4-BE49-F238E27FC236}">
                <a16:creationId xmlns:a16="http://schemas.microsoft.com/office/drawing/2014/main" id="{1897BCFB-0D01-2F40-B430-2721E175067C}"/>
              </a:ext>
            </a:extLst>
          </p:cNvPr>
          <p:cNvSpPr/>
          <p:nvPr/>
        </p:nvSpPr>
        <p:spPr>
          <a:xfrm>
            <a:off x="8879225" y="3667515"/>
            <a:ext cx="2335194" cy="65420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dirty="0"/>
          </a:p>
        </p:txBody>
      </p:sp>
      <p:sp>
        <p:nvSpPr>
          <p:cNvPr id="24" name="Прямоугольник 37">
            <a:extLst>
              <a:ext uri="{FF2B5EF4-FFF2-40B4-BE49-F238E27FC236}">
                <a16:creationId xmlns:a16="http://schemas.microsoft.com/office/drawing/2014/main" id="{32D331AF-57F4-4152-9FC6-41981E947BB5}"/>
              </a:ext>
            </a:extLst>
          </p:cNvPr>
          <p:cNvSpPr txBox="1"/>
          <p:nvPr/>
        </p:nvSpPr>
        <p:spPr>
          <a:xfrm>
            <a:off x="9199257" y="3652688"/>
            <a:ext cx="2529676" cy="5865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>
              <a:lnSpc>
                <a:spcPct val="150000"/>
              </a:lnSpc>
              <a:spcBef>
                <a:spcPts val="1500"/>
              </a:spcBef>
              <a:defRPr sz="2800" b="1"/>
            </a:pPr>
            <a:r>
              <a:rPr sz="2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 </a:t>
            </a:r>
            <a:r>
              <a:rPr lang="ru-RU" sz="2400" b="1" spc="85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0 </a:t>
            </a:r>
            <a:r>
              <a:rPr lang="ru-RU" sz="2400" b="1" spc="-2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лрд </a:t>
            </a:r>
            <a:endParaRPr sz="2400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7" name="Скругленный прямоугольник 46">
            <a:extLst>
              <a:ext uri="{FF2B5EF4-FFF2-40B4-BE49-F238E27FC236}">
                <a16:creationId xmlns:a16="http://schemas.microsoft.com/office/drawing/2014/main" id="{9A2E389A-811B-A441-A22E-AF0C2450B16E}"/>
              </a:ext>
            </a:extLst>
          </p:cNvPr>
          <p:cNvSpPr/>
          <p:nvPr/>
        </p:nvSpPr>
        <p:spPr>
          <a:xfrm>
            <a:off x="8797995" y="5155072"/>
            <a:ext cx="2335194" cy="654202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dirty="0"/>
          </a:p>
        </p:txBody>
      </p:sp>
      <p:sp>
        <p:nvSpPr>
          <p:cNvPr id="48" name="Прямоугольник 37">
            <a:extLst>
              <a:ext uri="{FF2B5EF4-FFF2-40B4-BE49-F238E27FC236}">
                <a16:creationId xmlns:a16="http://schemas.microsoft.com/office/drawing/2014/main" id="{1AD029EB-68D2-0240-8ABB-A9124970D577}"/>
              </a:ext>
            </a:extLst>
          </p:cNvPr>
          <p:cNvSpPr txBox="1"/>
          <p:nvPr/>
        </p:nvSpPr>
        <p:spPr>
          <a:xfrm>
            <a:off x="9118027" y="5140245"/>
            <a:ext cx="2529676" cy="5865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>
              <a:lnSpc>
                <a:spcPct val="150000"/>
              </a:lnSpc>
              <a:spcBef>
                <a:spcPts val="1500"/>
              </a:spcBef>
              <a:defRPr sz="2800" b="1"/>
            </a:pPr>
            <a:r>
              <a:rPr sz="24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 </a:t>
            </a:r>
            <a:r>
              <a:rPr lang="ru-RU" sz="2400" b="1" spc="85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 </a:t>
            </a:r>
            <a:r>
              <a:rPr lang="ru-RU" sz="2400" b="1" spc="-2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лрд </a:t>
            </a:r>
            <a:endParaRPr sz="2400" b="1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10"/>
          <p:cNvSpPr txBox="1"/>
          <p:nvPr/>
        </p:nvSpPr>
        <p:spPr>
          <a:xfrm>
            <a:off x="1086019" y="4289786"/>
            <a:ext cx="2379924" cy="558112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R="3081" algn="ctr">
              <a:lnSpc>
                <a:spcPct val="101499"/>
              </a:lnSpc>
              <a:spcBef>
                <a:spcPts val="55"/>
              </a:spcBef>
            </a:pPr>
            <a:r>
              <a:rPr sz="1182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и</a:t>
            </a:r>
            <a:r>
              <a:rPr lang="ru-RU" sz="1182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sz="1182" spc="12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уют </a:t>
            </a:r>
            <a:r>
              <a:rPr sz="1182" spc="6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ждую </a:t>
            </a:r>
            <a:r>
              <a:rPr sz="1182" spc="27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ачку </a:t>
            </a:r>
            <a:r>
              <a:rPr sz="1182" spc="24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гарет 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никальным </a:t>
            </a:r>
            <a:r>
              <a:rPr sz="1182" spc="-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ata </a:t>
            </a:r>
            <a:r>
              <a:rPr sz="1182" spc="12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Matrix </a:t>
            </a:r>
            <a:r>
              <a:rPr sz="1182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ом</a:t>
            </a:r>
            <a:endParaRPr sz="1182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object 12"/>
          <p:cNvSpPr txBox="1"/>
          <p:nvPr/>
        </p:nvSpPr>
        <p:spPr>
          <a:xfrm>
            <a:off x="4656938" y="4289786"/>
            <a:ext cx="2878123" cy="1281322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R="3081" algn="ctr">
              <a:lnSpc>
                <a:spcPct val="101499"/>
              </a:lnSpc>
              <a:spcBef>
                <a:spcPts val="55"/>
              </a:spcBef>
            </a:pPr>
            <a:r>
              <a:rPr sz="1182" spc="27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ставка </a:t>
            </a:r>
            <a:r>
              <a:rPr sz="1182" spc="24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анных сигарет</a:t>
            </a:r>
            <a:r>
              <a:rPr sz="1182" spc="6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истрибьютору  </a:t>
            </a:r>
            <a:r>
              <a:rPr sz="1182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sz="1182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sz="1182" spc="21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зничную </a:t>
            </a:r>
            <a:r>
              <a:rPr sz="1182" spc="18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чку </a:t>
            </a:r>
            <a:r>
              <a:rPr sz="1182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провождается </a:t>
            </a:r>
            <a:r>
              <a:rPr sz="1182" spc="18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лектрон</a:t>
            </a:r>
            <a:r>
              <a:rPr sz="1182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ыми </a:t>
            </a:r>
            <a:r>
              <a:rPr sz="1182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ниверсальными 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едаточными </a:t>
            </a:r>
            <a:r>
              <a:rPr sz="1182" spc="12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кумен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ми </a:t>
            </a:r>
            <a:r>
              <a:rPr sz="1182" spc="18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УПД) </a:t>
            </a:r>
            <a:r>
              <a:rPr sz="1182" spc="3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</a:t>
            </a:r>
            <a:r>
              <a:rPr sz="1182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казанием </a:t>
            </a:r>
            <a:r>
              <a:rPr sz="1182" spc="12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ов </a:t>
            </a:r>
            <a:r>
              <a:rPr sz="1182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и </a:t>
            </a:r>
            <a:r>
              <a:rPr sz="1182" spc="21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</a:t>
            </a:r>
            <a:r>
              <a:rPr sz="1182" spc="24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</a:t>
            </a:r>
            <a:r>
              <a:rPr sz="1182" spc="6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щи </a:t>
            </a:r>
            <a:r>
              <a:rPr sz="1182" spc="12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тем </a:t>
            </a:r>
            <a:r>
              <a:rPr sz="1182" spc="18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лектронного</a:t>
            </a:r>
            <a:r>
              <a:rPr sz="1182" spc="97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sz="1182" spc="12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кументооборота</a:t>
            </a:r>
            <a:endParaRPr sz="1182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object 14"/>
          <p:cNvSpPr txBox="1"/>
          <p:nvPr/>
        </p:nvSpPr>
        <p:spPr>
          <a:xfrm>
            <a:off x="8681958" y="4289786"/>
            <a:ext cx="2790781" cy="1311458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R="3081" algn="ctr">
              <a:lnSpc>
                <a:spcPct val="101499"/>
              </a:lnSpc>
              <a:spcBef>
                <a:spcPts val="55"/>
              </a:spcBef>
            </a:pPr>
            <a:r>
              <a:rPr sz="1182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аже </a:t>
            </a:r>
            <a:r>
              <a:rPr sz="1182" spc="24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гарет </a:t>
            </a:r>
            <a:r>
              <a:rPr sz="1182" spc="21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 </a:t>
            </a:r>
            <a:r>
              <a:rPr sz="1182" spc="18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ссе 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ужно </a:t>
            </a:r>
            <a:r>
              <a:rPr sz="1182" spc="27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ска</a:t>
            </a:r>
            <a:r>
              <a:rPr sz="1182" spc="18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ировать </a:t>
            </a:r>
            <a:r>
              <a:rPr sz="1182" spc="-6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DataMatrix </a:t>
            </a:r>
            <a:r>
              <a:rPr sz="1182" spc="3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д </a:t>
            </a:r>
            <a:r>
              <a:rPr sz="1182" spc="3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ждой </a:t>
            </a:r>
            <a:r>
              <a:rPr sz="1182" spc="24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ачки 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ли </a:t>
            </a:r>
            <a:r>
              <a:rPr sz="1182" spc="6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лока. </a:t>
            </a:r>
            <a:endParaRPr lang="ru-RU" sz="1182" spc="6" dirty="0">
              <a:solidFill>
                <a:srgbClr val="54575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R="3081" algn="ctr">
              <a:lnSpc>
                <a:spcPct val="101499"/>
              </a:lnSpc>
              <a:spcBef>
                <a:spcPts val="55"/>
              </a:spcBef>
            </a:pPr>
            <a:r>
              <a:rPr sz="1182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аже </a:t>
            </a:r>
            <a:r>
              <a:rPr sz="1182" spc="21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вара </a:t>
            </a:r>
            <a:r>
              <a:rPr sz="1182" spc="27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сса </a:t>
            </a:r>
            <a:r>
              <a:rPr sz="1182" spc="3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лжна </a:t>
            </a:r>
            <a:r>
              <a:rPr sz="1182" spc="27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дать </a:t>
            </a:r>
            <a:r>
              <a:rPr sz="1182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sz="1182" spc="4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ФД </a:t>
            </a:r>
            <a:r>
              <a:rPr sz="1182" spc="18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ю </a:t>
            </a:r>
            <a:endParaRPr lang="ru-RU" sz="1182" spc="18" dirty="0">
              <a:solidFill>
                <a:srgbClr val="54575E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R="3081" algn="ctr">
              <a:lnSpc>
                <a:spcPct val="101499"/>
              </a:lnSpc>
              <a:spcBef>
                <a:spcPts val="55"/>
              </a:spcBef>
            </a:pPr>
            <a:r>
              <a:rPr sz="1182" spc="18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</a:t>
            </a:r>
            <a:r>
              <a:rPr sz="1182" spc="-18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ом, </a:t>
            </a:r>
            <a:r>
              <a:rPr sz="1182" spc="18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то </a:t>
            </a:r>
            <a:r>
              <a:rPr sz="1182" spc="30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sz="1182" spc="21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ке </a:t>
            </a:r>
            <a:r>
              <a:rPr sz="1182" spc="9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держится маркируемая</a:t>
            </a:r>
            <a:r>
              <a:rPr sz="1182" spc="91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sz="1182" spc="15" dirty="0">
                <a:solidFill>
                  <a:srgbClr val="54575E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дукция</a:t>
            </a:r>
            <a:endParaRPr sz="1182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Нашивка 11"/>
          <p:cNvSpPr/>
          <p:nvPr/>
        </p:nvSpPr>
        <p:spPr>
          <a:xfrm>
            <a:off x="3862978" y="3009914"/>
            <a:ext cx="168278" cy="374328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 dirty="0">
              <a:solidFill>
                <a:schemeClr val="tx1"/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14" name="Нашивка 13"/>
          <p:cNvSpPr/>
          <p:nvPr/>
        </p:nvSpPr>
        <p:spPr>
          <a:xfrm>
            <a:off x="8005353" y="3007987"/>
            <a:ext cx="168278" cy="374328"/>
          </a:xfrm>
          <a:prstGeom prst="chevr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92" dirty="0">
              <a:solidFill>
                <a:schemeClr val="tx1"/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pic>
        <p:nvPicPr>
          <p:cNvPr id="23" name="Рисунок 22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04B35BE6-072A-9A46-9E2A-17D4D24A5C5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57" b="7"/>
          <a:stretch/>
        </p:blipFill>
        <p:spPr>
          <a:xfrm>
            <a:off x="1180763" y="1761141"/>
            <a:ext cx="2190435" cy="2190435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</p:spPr>
      </p:pic>
      <p:pic>
        <p:nvPicPr>
          <p:cNvPr id="24" name="Рисунок 23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6993A765-3894-AF43-AF0B-3462485397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1303" y="1719817"/>
            <a:ext cx="2258872" cy="2258872"/>
          </a:xfrm>
          <a:prstGeom prst="rect">
            <a:avLst/>
          </a:prstGeom>
        </p:spPr>
      </p:pic>
      <p:pic>
        <p:nvPicPr>
          <p:cNvPr id="25" name="Рисунок 24" descr="Изображение выглядит как игрушка&#10;&#10;Автоматически созданное описание">
            <a:extLst>
              <a:ext uri="{FF2B5EF4-FFF2-40B4-BE49-F238E27FC236}">
                <a16:creationId xmlns:a16="http://schemas.microsoft.com/office/drawing/2014/main" id="{11B334C9-1A26-F644-8E60-FEE80DC83F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48740" y="1770616"/>
            <a:ext cx="2258872" cy="2258872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21A59679-E8FC-F649-BE92-8127669098A5}"/>
              </a:ext>
            </a:extLst>
          </p:cNvPr>
          <p:cNvSpPr txBox="1"/>
          <p:nvPr/>
        </p:nvSpPr>
        <p:spPr>
          <a:xfrm>
            <a:off x="1160979" y="3764138"/>
            <a:ext cx="21735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ИЗВОДИТЕЛЬ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2CA58B8-16F9-3042-A432-AD8D078F4490}"/>
              </a:ext>
            </a:extLst>
          </p:cNvPr>
          <p:cNvSpPr txBox="1"/>
          <p:nvPr/>
        </p:nvSpPr>
        <p:spPr>
          <a:xfrm>
            <a:off x="5176856" y="3748750"/>
            <a:ext cx="1849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ИСТРИБЬЮТОР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F0EB926-A6D5-FC4E-9031-0D2369BD2746}"/>
              </a:ext>
            </a:extLst>
          </p:cNvPr>
          <p:cNvSpPr txBox="1"/>
          <p:nvPr/>
        </p:nvSpPr>
        <p:spPr>
          <a:xfrm>
            <a:off x="9152571" y="3748750"/>
            <a:ext cx="1849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ГАЗИН</a:t>
            </a:r>
          </a:p>
        </p:txBody>
      </p: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4C802DA2-CABA-3849-810F-FD725B1D3C96}"/>
              </a:ext>
            </a:extLst>
          </p:cNvPr>
          <p:cNvCxnSpPr>
            <a:cxnSpLocks/>
          </p:cNvCxnSpPr>
          <p:nvPr/>
        </p:nvCxnSpPr>
        <p:spPr>
          <a:xfrm>
            <a:off x="3451277" y="3031137"/>
            <a:ext cx="1345157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EB6BC22C-7059-224E-81BF-A174FDB1C0DD}"/>
              </a:ext>
            </a:extLst>
          </p:cNvPr>
          <p:cNvCxnSpPr>
            <a:cxnSpLocks/>
          </p:cNvCxnSpPr>
          <p:nvPr/>
        </p:nvCxnSpPr>
        <p:spPr>
          <a:xfrm>
            <a:off x="7336801" y="2995437"/>
            <a:ext cx="1345157" cy="0"/>
          </a:xfrm>
          <a:prstGeom prst="straightConnector1">
            <a:avLst/>
          </a:prstGeom>
          <a:ln w="22225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кругленный прямоугольник 30">
            <a:extLst>
              <a:ext uri="{FF2B5EF4-FFF2-40B4-BE49-F238E27FC236}">
                <a16:creationId xmlns:a16="http://schemas.microsoft.com/office/drawing/2014/main" id="{FA1BF4FE-3958-AD4A-911E-258F4575AD6C}"/>
              </a:ext>
            </a:extLst>
          </p:cNvPr>
          <p:cNvSpPr/>
          <p:nvPr/>
        </p:nvSpPr>
        <p:spPr>
          <a:xfrm>
            <a:off x="675039" y="699679"/>
            <a:ext cx="9308949" cy="84359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6D12C66-93FD-2A41-BCAF-BFF7A561A16E}"/>
              </a:ext>
            </a:extLst>
          </p:cNvPr>
          <p:cNvSpPr txBox="1"/>
          <p:nvPr/>
        </p:nvSpPr>
        <p:spPr>
          <a:xfrm>
            <a:off x="888228" y="862103"/>
            <a:ext cx="90957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дель функционирования системы маркировки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265D24A-E7E1-D14C-8642-1809D606E77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191" r="13337"/>
          <a:stretch/>
        </p:blipFill>
        <p:spPr>
          <a:xfrm>
            <a:off x="278638" y="1453151"/>
            <a:ext cx="2222924" cy="3042321"/>
          </a:xfrm>
          <a:prstGeom prst="rect">
            <a:avLst/>
          </a:prstGeom>
        </p:spPr>
      </p:pic>
      <p:sp>
        <p:nvSpPr>
          <p:cNvPr id="132" name="Скругленный прямоугольник 131">
            <a:extLst>
              <a:ext uri="{FF2B5EF4-FFF2-40B4-BE49-F238E27FC236}">
                <a16:creationId xmlns:a16="http://schemas.microsoft.com/office/drawing/2014/main" id="{21A2895F-4D39-2442-8E97-01B2403C45DD}"/>
              </a:ext>
            </a:extLst>
          </p:cNvPr>
          <p:cNvSpPr/>
          <p:nvPr/>
        </p:nvSpPr>
        <p:spPr>
          <a:xfrm>
            <a:off x="675039" y="699679"/>
            <a:ext cx="5696264" cy="889278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4853F060-6A52-894B-AC6C-9D9D16D54E6A}"/>
              </a:ext>
            </a:extLst>
          </p:cNvPr>
          <p:cNvSpPr txBox="1"/>
          <p:nvPr/>
        </p:nvSpPr>
        <p:spPr>
          <a:xfrm>
            <a:off x="7723334" y="699679"/>
            <a:ext cx="36727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</a:t>
            </a:r>
            <a:r>
              <a:rPr lang="ru-RU" sz="12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сутствие в коде маркировки </a:t>
            </a:r>
            <a:r>
              <a:rPr lang="en-US" sz="12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  </a:t>
            </a:r>
            <a:r>
              <a:rPr lang="ru-RU" sz="12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ксимальной розничной цены ускорит продажу и избавит от ошибок</a:t>
            </a:r>
          </a:p>
        </p:txBody>
      </p:sp>
      <p:sp>
        <p:nvSpPr>
          <p:cNvPr id="39" name="Скругленный прямоугольник 38">
            <a:extLst>
              <a:ext uri="{FF2B5EF4-FFF2-40B4-BE49-F238E27FC236}">
                <a16:creationId xmlns:a16="http://schemas.microsoft.com/office/drawing/2014/main" id="{D08B4492-78A9-3341-908C-F1F52DF5962C}"/>
              </a:ext>
            </a:extLst>
          </p:cNvPr>
          <p:cNvSpPr/>
          <p:nvPr/>
        </p:nvSpPr>
        <p:spPr>
          <a:xfrm>
            <a:off x="5061783" y="2568624"/>
            <a:ext cx="2101898" cy="738664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 dirty="0">
              <a:highlight>
                <a:srgbClr val="FFFF00"/>
              </a:highlight>
            </a:endParaRPr>
          </a:p>
        </p:txBody>
      </p:sp>
      <p:sp>
        <p:nvSpPr>
          <p:cNvPr id="28" name="Rectangle 179">
            <a:extLst>
              <a:ext uri="{FF2B5EF4-FFF2-40B4-BE49-F238E27FC236}">
                <a16:creationId xmlns:a16="http://schemas.microsoft.com/office/drawing/2014/main" id="{F1D3A42F-82AB-424A-86E8-1F748BE559AC}"/>
              </a:ext>
            </a:extLst>
          </p:cNvPr>
          <p:cNvSpPr/>
          <p:nvPr/>
        </p:nvSpPr>
        <p:spPr>
          <a:xfrm>
            <a:off x="5061782" y="2748605"/>
            <a:ext cx="2101899" cy="38199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7 цифр </a:t>
            </a:r>
          </a:p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серийный номер)</a:t>
            </a:r>
          </a:p>
        </p:txBody>
      </p:sp>
      <p:sp>
        <p:nvSpPr>
          <p:cNvPr id="31" name="Rectangle 24">
            <a:extLst>
              <a:ext uri="{FF2B5EF4-FFF2-40B4-BE49-F238E27FC236}">
                <a16:creationId xmlns:a16="http://schemas.microsoft.com/office/drawing/2014/main" id="{A00ADF40-3BCF-B541-B78E-E6D4787859B8}"/>
              </a:ext>
            </a:extLst>
          </p:cNvPr>
          <p:cNvSpPr/>
          <p:nvPr/>
        </p:nvSpPr>
        <p:spPr>
          <a:xfrm>
            <a:off x="2363669" y="2543825"/>
            <a:ext cx="351058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en-US" sz="4800" dirty="0">
                <a:solidFill>
                  <a:schemeClr val="bg1">
                    <a:lumMod val="8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=</a:t>
            </a:r>
            <a:endParaRPr lang="ru-RU" sz="4800" dirty="0">
              <a:solidFill>
                <a:schemeClr val="bg1">
                  <a:lumMod val="8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32" name="Rectangle 24">
            <a:extLst>
              <a:ext uri="{FF2B5EF4-FFF2-40B4-BE49-F238E27FC236}">
                <a16:creationId xmlns:a16="http://schemas.microsoft.com/office/drawing/2014/main" id="{6EC2292A-BA7F-454E-A9C8-A815971409F9}"/>
              </a:ext>
            </a:extLst>
          </p:cNvPr>
          <p:cNvSpPr/>
          <p:nvPr/>
        </p:nvSpPr>
        <p:spPr>
          <a:xfrm>
            <a:off x="7310284" y="2568634"/>
            <a:ext cx="351058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en-US" sz="4800" dirty="0">
                <a:solidFill>
                  <a:schemeClr val="bg1">
                    <a:lumMod val="8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+</a:t>
            </a:r>
            <a:endParaRPr lang="ru-RU" sz="4800" dirty="0">
              <a:solidFill>
                <a:schemeClr val="bg1">
                  <a:lumMod val="8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EF92EF17-058D-F349-96E1-0C2172A62B7C}"/>
              </a:ext>
            </a:extLst>
          </p:cNvPr>
          <p:cNvGrpSpPr/>
          <p:nvPr/>
        </p:nvGrpSpPr>
        <p:grpSpPr>
          <a:xfrm>
            <a:off x="7787118" y="2568634"/>
            <a:ext cx="1354453" cy="738664"/>
            <a:chOff x="8006329" y="3716900"/>
            <a:chExt cx="1354453" cy="738664"/>
          </a:xfrm>
        </p:grpSpPr>
        <p:sp>
          <p:nvSpPr>
            <p:cNvPr id="42" name="Скругленный прямоугольник 41">
              <a:extLst>
                <a:ext uri="{FF2B5EF4-FFF2-40B4-BE49-F238E27FC236}">
                  <a16:creationId xmlns:a16="http://schemas.microsoft.com/office/drawing/2014/main" id="{C91466E4-B9C5-CC45-88EE-2BF8CB681F20}"/>
                </a:ext>
              </a:extLst>
            </p:cNvPr>
            <p:cNvSpPr/>
            <p:nvPr/>
          </p:nvSpPr>
          <p:spPr>
            <a:xfrm>
              <a:off x="8006329" y="3716900"/>
              <a:ext cx="1354453" cy="738664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34" name="Rectangle 179">
              <a:extLst>
                <a:ext uri="{FF2B5EF4-FFF2-40B4-BE49-F238E27FC236}">
                  <a16:creationId xmlns:a16="http://schemas.microsoft.com/office/drawing/2014/main" id="{0957DCF3-4355-974C-BCF5-79D3971BFD85}"/>
                </a:ext>
              </a:extLst>
            </p:cNvPr>
            <p:cNvSpPr/>
            <p:nvPr/>
          </p:nvSpPr>
          <p:spPr>
            <a:xfrm>
              <a:off x="8006329" y="3876519"/>
              <a:ext cx="1354453" cy="39971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4 символа</a:t>
              </a:r>
            </a:p>
            <a:p>
              <a:pPr algn="ctr"/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 (МРЦ)</a:t>
              </a:r>
            </a:p>
          </p:txBody>
        </p:sp>
      </p:grpSp>
      <p:sp>
        <p:nvSpPr>
          <p:cNvPr id="38" name="Скругленный прямоугольник 37">
            <a:extLst>
              <a:ext uri="{FF2B5EF4-FFF2-40B4-BE49-F238E27FC236}">
                <a16:creationId xmlns:a16="http://schemas.microsoft.com/office/drawing/2014/main" id="{F72C5EED-7BE7-0148-B6E2-8853E9496E94}"/>
              </a:ext>
            </a:extLst>
          </p:cNvPr>
          <p:cNvSpPr/>
          <p:nvPr/>
        </p:nvSpPr>
        <p:spPr>
          <a:xfrm>
            <a:off x="2898535" y="2543825"/>
            <a:ext cx="1539810" cy="738664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26" name="Rectangle 179">
            <a:extLst>
              <a:ext uri="{FF2B5EF4-FFF2-40B4-BE49-F238E27FC236}">
                <a16:creationId xmlns:a16="http://schemas.microsoft.com/office/drawing/2014/main" id="{ADDC9312-149B-CC49-B831-A6D07FE84325}"/>
              </a:ext>
            </a:extLst>
          </p:cNvPr>
          <p:cNvSpPr/>
          <p:nvPr/>
        </p:nvSpPr>
        <p:spPr>
          <a:xfrm>
            <a:off x="2898535" y="2715073"/>
            <a:ext cx="1501632" cy="3961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4 цифр</a:t>
            </a:r>
          </a:p>
          <a:p>
            <a:pPr algn="ctr"/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код товара)</a:t>
            </a:r>
          </a:p>
        </p:txBody>
      </p:sp>
      <p:sp>
        <p:nvSpPr>
          <p:cNvPr id="44" name="Rectangle 24">
            <a:extLst>
              <a:ext uri="{FF2B5EF4-FFF2-40B4-BE49-F238E27FC236}">
                <a16:creationId xmlns:a16="http://schemas.microsoft.com/office/drawing/2014/main" id="{E0A77279-DA29-234E-998D-240F7A646A86}"/>
              </a:ext>
            </a:extLst>
          </p:cNvPr>
          <p:cNvSpPr/>
          <p:nvPr/>
        </p:nvSpPr>
        <p:spPr>
          <a:xfrm>
            <a:off x="4574534" y="2543825"/>
            <a:ext cx="351058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en-US" sz="4800" dirty="0">
                <a:solidFill>
                  <a:schemeClr val="bg1">
                    <a:lumMod val="8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+</a:t>
            </a:r>
            <a:endParaRPr lang="ru-RU" sz="4800" dirty="0">
              <a:solidFill>
                <a:schemeClr val="bg1">
                  <a:lumMod val="8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7AA83DB-F2A6-DD45-8459-6C272C3ECA24}"/>
              </a:ext>
            </a:extLst>
          </p:cNvPr>
          <p:cNvGrpSpPr/>
          <p:nvPr/>
        </p:nvGrpSpPr>
        <p:grpSpPr>
          <a:xfrm>
            <a:off x="9765007" y="2568634"/>
            <a:ext cx="1722402" cy="738664"/>
            <a:chOff x="9765007" y="3716900"/>
            <a:chExt cx="1722402" cy="738664"/>
          </a:xfrm>
        </p:grpSpPr>
        <p:sp>
          <p:nvSpPr>
            <p:cNvPr id="16" name="Скругленный прямоугольник 15">
              <a:extLst>
                <a:ext uri="{FF2B5EF4-FFF2-40B4-BE49-F238E27FC236}">
                  <a16:creationId xmlns:a16="http://schemas.microsoft.com/office/drawing/2014/main" id="{D5F94569-3B1A-C745-A4EA-458307D9DDC6}"/>
                </a:ext>
              </a:extLst>
            </p:cNvPr>
            <p:cNvSpPr/>
            <p:nvPr/>
          </p:nvSpPr>
          <p:spPr>
            <a:xfrm>
              <a:off x="9765007" y="3716900"/>
              <a:ext cx="1722402" cy="738664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PT"/>
            </a:p>
          </p:txBody>
        </p:sp>
        <p:sp>
          <p:nvSpPr>
            <p:cNvPr id="17" name="Rectangle 179">
              <a:extLst>
                <a:ext uri="{FF2B5EF4-FFF2-40B4-BE49-F238E27FC236}">
                  <a16:creationId xmlns:a16="http://schemas.microsoft.com/office/drawing/2014/main" id="{FAF10F7C-83E9-4440-985A-7D082EB870D9}"/>
                </a:ext>
              </a:extLst>
            </p:cNvPr>
            <p:cNvSpPr/>
            <p:nvPr/>
          </p:nvSpPr>
          <p:spPr>
            <a:xfrm>
              <a:off x="9765007" y="3876519"/>
              <a:ext cx="1722402" cy="399712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203" tIns="45601" rIns="91203" bIns="4560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4 символа</a:t>
              </a:r>
            </a:p>
            <a:p>
              <a:pPr algn="ctr"/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(код проверки)</a:t>
              </a:r>
            </a:p>
          </p:txBody>
        </p:sp>
      </p:grpSp>
      <p:sp>
        <p:nvSpPr>
          <p:cNvPr id="22" name="Rectangle 24">
            <a:extLst>
              <a:ext uri="{FF2B5EF4-FFF2-40B4-BE49-F238E27FC236}">
                <a16:creationId xmlns:a16="http://schemas.microsoft.com/office/drawing/2014/main" id="{F4FE40AB-DC22-6943-AE66-CBCEF5248238}"/>
              </a:ext>
            </a:extLst>
          </p:cNvPr>
          <p:cNvSpPr/>
          <p:nvPr/>
        </p:nvSpPr>
        <p:spPr>
          <a:xfrm>
            <a:off x="9295838" y="2568634"/>
            <a:ext cx="351058" cy="73866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2200" b="1">
                <a:solidFill>
                  <a:srgbClr val="58595B"/>
                </a:solidFill>
              </a:defRPr>
            </a:lvl1pPr>
          </a:lstStyle>
          <a:p>
            <a:pPr algn="ctr"/>
            <a:r>
              <a:rPr lang="en-US" sz="4800" dirty="0">
                <a:solidFill>
                  <a:schemeClr val="bg1">
                    <a:lumMod val="85000"/>
                  </a:schemeClr>
                </a:solidFill>
                <a:latin typeface="PT Sans Caption" panose="020B0603020203020204" pitchFamily="34" charset="-52"/>
                <a:ea typeface="PT Sans Caption" panose="020B0603020203020204" pitchFamily="34" charset="-52"/>
              </a:rPr>
              <a:t>+</a:t>
            </a:r>
            <a:endParaRPr lang="ru-RU" sz="4800" dirty="0">
              <a:solidFill>
                <a:schemeClr val="bg1">
                  <a:lumMod val="85000"/>
                </a:schemeClr>
              </a:solidFill>
              <a:latin typeface="PT Sans Caption" panose="020B0603020203020204" pitchFamily="34" charset="-52"/>
              <a:ea typeface="PT Sans Caption" panose="020B0603020203020204" pitchFamily="34" charset="-52"/>
            </a:endParaRPr>
          </a:p>
        </p:txBody>
      </p:sp>
      <p:sp>
        <p:nvSpPr>
          <p:cNvPr id="23" name="object 12">
            <a:extLst>
              <a:ext uri="{FF2B5EF4-FFF2-40B4-BE49-F238E27FC236}">
                <a16:creationId xmlns:a16="http://schemas.microsoft.com/office/drawing/2014/main" id="{9C782491-D229-654D-93C3-A7A08E96D0B6}"/>
              </a:ext>
            </a:extLst>
          </p:cNvPr>
          <p:cNvSpPr txBox="1"/>
          <p:nvPr/>
        </p:nvSpPr>
        <p:spPr>
          <a:xfrm>
            <a:off x="2898535" y="3487269"/>
            <a:ext cx="1675999" cy="514830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r>
              <a:rPr lang="ru-RU" sz="11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ервая группа состоит из 14 цифр </a:t>
            </a:r>
            <a:r>
              <a:rPr lang="ru-RU" sz="11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содержит код товара (</a:t>
            </a:r>
            <a:r>
              <a:rPr lang="en-US" sz="11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GTIN)</a:t>
            </a:r>
            <a:endParaRPr lang="ru-RU" sz="1100" dirty="0">
              <a:solidFill>
                <a:srgbClr val="595959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object 12">
            <a:extLst>
              <a:ext uri="{FF2B5EF4-FFF2-40B4-BE49-F238E27FC236}">
                <a16:creationId xmlns:a16="http://schemas.microsoft.com/office/drawing/2014/main" id="{E6CCF84A-D100-174E-A7F6-2AA9146E2A04}"/>
              </a:ext>
            </a:extLst>
          </p:cNvPr>
          <p:cNvSpPr txBox="1"/>
          <p:nvPr/>
        </p:nvSpPr>
        <p:spPr>
          <a:xfrm>
            <a:off x="5053906" y="3487269"/>
            <a:ext cx="2101898" cy="136121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r>
              <a:rPr lang="ru-RU" sz="11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торая группа состоит из 7 символов </a:t>
            </a:r>
            <a:r>
              <a:rPr lang="ru-RU" sz="11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цифр, строчных и прописных букв латинского алфавита, а также специальных символов) и содержит индивидуальный серийный номер упаковки табачной продукции</a:t>
            </a:r>
          </a:p>
        </p:txBody>
      </p:sp>
      <p:sp>
        <p:nvSpPr>
          <p:cNvPr id="27" name="object 12">
            <a:extLst>
              <a:ext uri="{FF2B5EF4-FFF2-40B4-BE49-F238E27FC236}">
                <a16:creationId xmlns:a16="http://schemas.microsoft.com/office/drawing/2014/main" id="{35F39251-F99F-9240-8620-78DDD15CBCCD}"/>
              </a:ext>
            </a:extLst>
          </p:cNvPr>
          <p:cNvSpPr txBox="1"/>
          <p:nvPr/>
        </p:nvSpPr>
        <p:spPr>
          <a:xfrm>
            <a:off x="7757917" y="3487269"/>
            <a:ext cx="1383654" cy="2715432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r>
              <a:rPr lang="ru-RU" sz="11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ретья группа цифр состоит из 4 символов </a:t>
            </a:r>
            <a:r>
              <a:rPr lang="ru-RU" sz="11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цифр, строчных и прописных букв латинского алфавита, а также специальных символов) и содержит в перекодированном виде максимальную розничную цену потребительской упаковки с точностью до одной копейки</a:t>
            </a:r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730E41C8-1D9D-A64D-9A7E-3A2061115559}"/>
              </a:ext>
            </a:extLst>
          </p:cNvPr>
          <p:cNvSpPr txBox="1"/>
          <p:nvPr/>
        </p:nvSpPr>
        <p:spPr>
          <a:xfrm>
            <a:off x="9760137" y="3487269"/>
            <a:ext cx="1722401" cy="1361216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r>
              <a:rPr lang="ru-RU" sz="1100" b="1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твертая группа состоит из 4 символов </a:t>
            </a:r>
            <a:r>
              <a:rPr lang="ru-RU" sz="1100" dirty="0">
                <a:solidFill>
                  <a:srgbClr val="595959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(цифр, строчных и прописных букв латинского алфавита, а также специальных символов) и содержит код проверки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C5B7610-35F6-F342-8C1A-FE26E50F96AF}"/>
              </a:ext>
            </a:extLst>
          </p:cNvPr>
          <p:cNvSpPr txBox="1"/>
          <p:nvPr/>
        </p:nvSpPr>
        <p:spPr>
          <a:xfrm>
            <a:off x="888228" y="862103"/>
            <a:ext cx="51988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руктура кода маркировки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841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человек, внутренний, держит, рука&#10;&#10;Автоматически созданное описание">
            <a:extLst>
              <a:ext uri="{FF2B5EF4-FFF2-40B4-BE49-F238E27FC236}">
                <a16:creationId xmlns:a16="http://schemas.microsoft.com/office/drawing/2014/main" id="{E5446474-42D2-2E49-A4B4-7D6C218A66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990826"/>
          </a:xfrm>
          <a:prstGeom prst="rect">
            <a:avLst/>
          </a:prstGeom>
        </p:spPr>
      </p:pic>
      <p:pic>
        <p:nvPicPr>
          <p:cNvPr id="6" name="Рисунок 5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25C8CA87-AF8B-8549-AA45-043A054083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4702" y="5406900"/>
            <a:ext cx="1800000" cy="540000"/>
          </a:xfrm>
          <a:prstGeom prst="rect">
            <a:avLst/>
          </a:prstGeom>
        </p:spPr>
      </p:pic>
      <p:pic>
        <p:nvPicPr>
          <p:cNvPr id="8" name="Рисунок 7" descr="Изображение выглядит как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BF9DA059-1991-0D44-AF43-3CDA4637B0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0000" y="5406900"/>
            <a:ext cx="1800000" cy="5400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BAEAF02-D638-7244-B5F5-FF05609DF172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642656" y="3980124"/>
            <a:ext cx="1054688" cy="108000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684F7E43-C661-A041-A21F-B1F76C6436AD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498988" y="3961612"/>
            <a:ext cx="1071429" cy="1080000"/>
          </a:xfrm>
          <a:prstGeom prst="rect">
            <a:avLst/>
          </a:prstGeom>
        </p:spPr>
      </p:pic>
      <p:sp>
        <p:nvSpPr>
          <p:cNvPr id="12" name="Скругленный прямоугольник 11">
            <a:extLst>
              <a:ext uri="{FF2B5EF4-FFF2-40B4-BE49-F238E27FC236}">
                <a16:creationId xmlns:a16="http://schemas.microsoft.com/office/drawing/2014/main" id="{6F16881D-776E-E54A-A6A0-DCF911987BEB}"/>
              </a:ext>
            </a:extLst>
          </p:cNvPr>
          <p:cNvSpPr/>
          <p:nvPr/>
        </p:nvSpPr>
        <p:spPr>
          <a:xfrm>
            <a:off x="675039" y="699679"/>
            <a:ext cx="2982561" cy="1333500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C9C1AA-659D-BD48-8F21-6A598556F497}"/>
              </a:ext>
            </a:extLst>
          </p:cNvPr>
          <p:cNvSpPr txBox="1"/>
          <p:nvPr/>
        </p:nvSpPr>
        <p:spPr>
          <a:xfrm>
            <a:off x="754663" y="862103"/>
            <a:ext cx="298992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щественный </a:t>
            </a:r>
          </a:p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нтроль</a:t>
            </a:r>
            <a:endParaRPr lang="ru-PT" sz="28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84954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>
            <a:extLst>
              <a:ext uri="{FF2B5EF4-FFF2-40B4-BE49-F238E27FC236}">
                <a16:creationId xmlns:a16="http://schemas.microsoft.com/office/drawing/2014/main" id="{309CF8DE-9779-CF48-972C-BA0E3DD5734A}"/>
              </a:ext>
            </a:extLst>
          </p:cNvPr>
          <p:cNvSpPr/>
          <p:nvPr/>
        </p:nvSpPr>
        <p:spPr>
          <a:xfrm>
            <a:off x="675039" y="699679"/>
            <a:ext cx="8482815" cy="900521"/>
          </a:xfrm>
          <a:prstGeom prst="round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PT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E09FF48-9571-584B-9A7E-0D2C9FB3F0BD}"/>
              </a:ext>
            </a:extLst>
          </p:cNvPr>
          <p:cNvSpPr txBox="1"/>
          <p:nvPr/>
        </p:nvSpPr>
        <p:spPr>
          <a:xfrm>
            <a:off x="973440" y="862103"/>
            <a:ext cx="97432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ичный кабинет. Список документов</a:t>
            </a:r>
          </a:p>
        </p:txBody>
      </p:sp>
      <p:pic>
        <p:nvPicPr>
          <p:cNvPr id="3" name="Рисунок 2" descr="Изображение выглядит как монитор, компьютер, ноутбук&#10;&#10;Автоматически созданное описание">
            <a:extLst>
              <a:ext uri="{FF2B5EF4-FFF2-40B4-BE49-F238E27FC236}">
                <a16:creationId xmlns:a16="http://schemas.microsoft.com/office/drawing/2014/main" id="{83360B0C-0CDE-BA42-BDA7-D4473BA367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63" y="1332264"/>
            <a:ext cx="8836765" cy="6046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231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p0fUDq7bFNwszt6wuPg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Kz7x5yRhCgjqB1rX.71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xUk78kSNOWsET65AJ9U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pZyowSR_GPf7M1biQkF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007Ek9ROOT6seNbMigl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2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02C2073B0FE214C8FDEA79FBF3E7596" ma:contentTypeVersion="9" ma:contentTypeDescription="Создание документа." ma:contentTypeScope="" ma:versionID="ac4ad9ad56610e84de2b06dbe7d77072">
  <xsd:schema xmlns:xsd="http://www.w3.org/2001/XMLSchema" xmlns:xs="http://www.w3.org/2001/XMLSchema" xmlns:p="http://schemas.microsoft.com/office/2006/metadata/properties" xmlns:ns3="6243c724-3450-4e3b-813f-6ea6afeac519" xmlns:ns4="322e0c74-99e3-469a-8fa8-9a54623058f3" targetNamespace="http://schemas.microsoft.com/office/2006/metadata/properties" ma:root="true" ma:fieldsID="74a2f083be4ac4039bc8d48b9cbbbcf4" ns3:_="" ns4:_="">
    <xsd:import namespace="6243c724-3450-4e3b-813f-6ea6afeac519"/>
    <xsd:import namespace="322e0c74-99e3-469a-8fa8-9a54623058f3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43c724-3450-4e3b-813f-6ea6afeac5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2e0c74-99e3-469a-8fa8-9a54623058f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8F2356F-2355-41B2-8D7A-DD7975C2D5D0}">
  <ds:schemaRefs>
    <ds:schemaRef ds:uri="http://purl.org/dc/elements/1.1/"/>
    <ds:schemaRef ds:uri="http://purl.org/dc/dcmitype/"/>
    <ds:schemaRef ds:uri="6243c724-3450-4e3b-813f-6ea6afeac519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322e0c74-99e3-469a-8fa8-9a54623058f3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C0C3520-BA90-4FF7-846E-09FA841809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43c724-3450-4e3b-813f-6ea6afeac519"/>
    <ds:schemaRef ds:uri="322e0c74-99e3-469a-8fa8-9a54623058f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70255BC-DD1A-4BB0-86DD-5522C52710A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42</TotalTime>
  <Words>2036</Words>
  <Application>Microsoft Macintosh PowerPoint</Application>
  <PresentationFormat>Широкоэкранный</PresentationFormat>
  <Paragraphs>334</Paragraphs>
  <Slides>27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7</vt:i4>
      </vt:variant>
    </vt:vector>
  </HeadingPairs>
  <TitlesOfParts>
    <vt:vector size="40" baseType="lpstr">
      <vt:lpstr>PT Sans Caption</vt:lpstr>
      <vt:lpstr>PT Mono</vt:lpstr>
      <vt:lpstr>Trebuchet MS</vt:lpstr>
      <vt:lpstr>Segoe UI Semibold</vt:lpstr>
      <vt:lpstr>Calibri</vt:lpstr>
      <vt:lpstr>Segoe UI</vt:lpstr>
      <vt:lpstr>Arial</vt:lpstr>
      <vt:lpstr>Wingdings</vt:lpstr>
      <vt:lpstr>Calibri Light</vt:lpstr>
      <vt:lpstr>2_BCG Grid 16:9</vt:lpstr>
      <vt:lpstr>Тема Office</vt:lpstr>
      <vt:lpstr>Слайд think-cell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ифровая маркировка товаров в Российской Федерации</dc:title>
  <dc:creator>Ширнина Дарья</dc:creator>
  <cp:lastModifiedBy>Витров Ян</cp:lastModifiedBy>
  <cp:revision>212</cp:revision>
  <cp:lastPrinted>2019-09-19T11:50:25Z</cp:lastPrinted>
  <dcterms:created xsi:type="dcterms:W3CDTF">2019-05-29T07:47:56Z</dcterms:created>
  <dcterms:modified xsi:type="dcterms:W3CDTF">2020-05-20T12:5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2C2073B0FE214C8FDEA79FBF3E7596</vt:lpwstr>
  </property>
</Properties>
</file>